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15" r:id="rId2"/>
    <p:sldMasterId id="2147483736" r:id="rId3"/>
  </p:sldMasterIdLst>
  <p:notesMasterIdLst>
    <p:notesMasterId r:id="rId15"/>
  </p:notesMasterIdLst>
  <p:handoutMasterIdLst>
    <p:handoutMasterId r:id="rId16"/>
  </p:handoutMasterIdLst>
  <p:sldIdLst>
    <p:sldId id="2222" r:id="rId4"/>
    <p:sldId id="2224" r:id="rId5"/>
    <p:sldId id="390" r:id="rId6"/>
    <p:sldId id="2231" r:id="rId7"/>
    <p:sldId id="2513" r:id="rId8"/>
    <p:sldId id="2226" r:id="rId9"/>
    <p:sldId id="2512" r:id="rId10"/>
    <p:sldId id="2245" r:id="rId11"/>
    <p:sldId id="495" r:id="rId12"/>
    <p:sldId id="2228" r:id="rId13"/>
    <p:sldId id="2232" r:id="rId14"/>
  </p:sldIdLst>
  <p:sldSz cx="12192000" cy="6858000"/>
  <p:notesSz cx="6794500" cy="9931400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D30CE05-B4A1-4280-9362-C4426808B783}">
          <p14:sldIdLst>
            <p14:sldId id="2222"/>
            <p14:sldId id="2224"/>
            <p14:sldId id="390"/>
            <p14:sldId id="2231"/>
            <p14:sldId id="2513"/>
            <p14:sldId id="2226"/>
            <p14:sldId id="2512"/>
            <p14:sldId id="2245"/>
            <p14:sldId id="495"/>
            <p14:sldId id="2228"/>
            <p14:sldId id="2232"/>
          </p14:sldIdLst>
        </p14:section>
      </p14:sectionLst>
    </p:ext>
    <p:ext uri="{EFAFB233-063F-42B5-8137-9DF3F51BA10A}">
      <p15:sldGuideLst xmlns:p15="http://schemas.microsoft.com/office/powerpoint/2012/main">
        <p15:guide id="1" pos="3976" userDrawn="1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300" userDrawn="1">
          <p15:clr>
            <a:srgbClr val="A4A3A4"/>
          </p15:clr>
        </p15:guide>
        <p15:guide id="4" orient="horz" pos="2659" userDrawn="1">
          <p15:clr>
            <a:srgbClr val="A4A3A4"/>
          </p15:clr>
        </p15:guide>
        <p15:guide id="5" pos="28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ong-Won Ly" initials="SL" lastIdx="10" clrIdx="0">
    <p:extLst>
      <p:ext uri="{19B8F6BF-5375-455C-9EA6-DF929625EA0E}">
        <p15:presenceInfo xmlns:p15="http://schemas.microsoft.com/office/powerpoint/2012/main" userId="S-1-5-21-2900290652-3162160026-1438150922-2384" providerId="AD"/>
      </p:ext>
    </p:extLst>
  </p:cmAuthor>
  <p:cmAuthor id="2" name="Jana Slobodova" initials="JS" lastIdx="1" clrIdx="1">
    <p:extLst>
      <p:ext uri="{19B8F6BF-5375-455C-9EA6-DF929625EA0E}">
        <p15:presenceInfo xmlns:p15="http://schemas.microsoft.com/office/powerpoint/2012/main" userId="S-1-5-21-425032630-261937395-3791421602-1624" providerId="AD"/>
      </p:ext>
    </p:extLst>
  </p:cmAuthor>
  <p:cmAuthor id="3" name="Kamila Opletalová" initials="KO" lastIdx="1" clrIdx="2">
    <p:extLst>
      <p:ext uri="{19B8F6BF-5375-455C-9EA6-DF929625EA0E}">
        <p15:presenceInfo xmlns:p15="http://schemas.microsoft.com/office/powerpoint/2012/main" userId="S::kamila.opletalova@ista.cz::15f62ad2-f374-4294-8fe0-6640730102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B400"/>
    <a:srgbClr val="282176"/>
    <a:srgbClr val="60609A"/>
    <a:srgbClr val="4F4A90"/>
    <a:srgbClr val="0B2A67"/>
    <a:srgbClr val="0A2864"/>
    <a:srgbClr val="0D2B68"/>
    <a:srgbClr val="0E2F6B"/>
    <a:srgbClr val="13356F"/>
    <a:srgbClr val="1435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02" autoAdjust="0"/>
    <p:restoredTop sz="96357" autoAdjust="0"/>
  </p:normalViewPr>
  <p:slideViewPr>
    <p:cSldViewPr showGuides="1">
      <p:cViewPr varScale="1">
        <p:scale>
          <a:sx n="106" d="100"/>
          <a:sy n="106" d="100"/>
        </p:scale>
        <p:origin x="786" y="138"/>
      </p:cViewPr>
      <p:guideLst>
        <p:guide pos="3976"/>
        <p:guide orient="horz" pos="935"/>
        <p:guide orient="horz" pos="300"/>
        <p:guide orient="horz" pos="2659"/>
        <p:guide pos="28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80" d="100"/>
          <a:sy n="80" d="100"/>
        </p:scale>
        <p:origin x="391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007E20-64B3-4616-A0C3-75285AE07521}" type="doc">
      <dgm:prSet loTypeId="urn:microsoft.com/office/officeart/2005/8/layout/v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sk-SK"/>
        </a:p>
      </dgm:t>
    </dgm:pt>
    <dgm:pt modelId="{474231CA-1C30-46E9-B152-124C05FB9F46}">
      <dgm:prSet/>
      <dgm:spPr/>
      <dgm:t>
        <a:bodyPr/>
        <a:lstStyle/>
        <a:p>
          <a:r>
            <a:rPr lang="sk-SK" dirty="0"/>
            <a:t>Reklamace a </a:t>
          </a:r>
          <a:r>
            <a:rPr lang="sk-SK" dirty="0" err="1"/>
            <a:t>nesrovnalosti</a:t>
          </a:r>
          <a:r>
            <a:rPr lang="sk-SK" dirty="0"/>
            <a:t> </a:t>
          </a:r>
          <a:r>
            <a:rPr lang="sk-SK" dirty="0" err="1"/>
            <a:t>ve</a:t>
          </a:r>
          <a:r>
            <a:rPr lang="sk-SK" dirty="0"/>
            <a:t> </a:t>
          </a:r>
          <a:r>
            <a:rPr lang="sk-SK" dirty="0" err="1"/>
            <a:t>vyúčtování</a:t>
          </a:r>
          <a:r>
            <a:rPr lang="sk-SK" dirty="0"/>
            <a:t> je možné </a:t>
          </a:r>
          <a:r>
            <a:rPr lang="sk-SK" dirty="0" err="1"/>
            <a:t>jednodušeji</a:t>
          </a:r>
          <a:r>
            <a:rPr lang="sk-SK" dirty="0"/>
            <a:t> </a:t>
          </a:r>
          <a:r>
            <a:rPr lang="sk-SK" dirty="0" err="1"/>
            <a:t>vysvětlit</a:t>
          </a:r>
          <a:r>
            <a:rPr lang="sk-SK" dirty="0"/>
            <a:t>.</a:t>
          </a:r>
        </a:p>
      </dgm:t>
    </dgm:pt>
    <dgm:pt modelId="{3EFEDE62-DBD9-45DB-8EBD-989F72AD3347}" type="parTrans" cxnId="{2E4D9A7B-85F8-4AA7-8068-3D51274A139D}">
      <dgm:prSet/>
      <dgm:spPr/>
      <dgm:t>
        <a:bodyPr/>
        <a:lstStyle/>
        <a:p>
          <a:endParaRPr lang="sk-SK"/>
        </a:p>
      </dgm:t>
    </dgm:pt>
    <dgm:pt modelId="{F8F518EB-5A39-4421-B30A-CEFD8F53AF60}" type="sibTrans" cxnId="{2E4D9A7B-85F8-4AA7-8068-3D51274A139D}">
      <dgm:prSet/>
      <dgm:spPr/>
      <dgm:t>
        <a:bodyPr/>
        <a:lstStyle/>
        <a:p>
          <a:endParaRPr lang="sk-SK"/>
        </a:p>
      </dgm:t>
    </dgm:pt>
    <dgm:pt modelId="{DF17A813-25A2-4015-BB12-C99BB2CD5BFE}">
      <dgm:prSet/>
      <dgm:spPr>
        <a:solidFill>
          <a:srgbClr val="84B400"/>
        </a:solidFill>
      </dgm:spPr>
      <dgm:t>
        <a:bodyPr/>
        <a:lstStyle/>
        <a:p>
          <a:r>
            <a:rPr lang="sk-SK" dirty="0"/>
            <a:t>Automatický monitoring chyb včas odhalí poruchy a </a:t>
          </a:r>
          <a:r>
            <a:rPr lang="sk-SK" dirty="0" err="1"/>
            <a:t>nežádoucí</a:t>
          </a:r>
          <a:r>
            <a:rPr lang="sk-SK" dirty="0"/>
            <a:t> stavy.</a:t>
          </a:r>
        </a:p>
      </dgm:t>
    </dgm:pt>
    <dgm:pt modelId="{9CFE28B2-1CD1-4E78-85DB-C5AFE9040067}" type="parTrans" cxnId="{90FAFDA6-0819-417F-9832-F0825B497DCA}">
      <dgm:prSet/>
      <dgm:spPr/>
      <dgm:t>
        <a:bodyPr/>
        <a:lstStyle/>
        <a:p>
          <a:endParaRPr lang="sk-SK"/>
        </a:p>
      </dgm:t>
    </dgm:pt>
    <dgm:pt modelId="{C30385E1-8684-4810-B54B-67586D8F7CB9}" type="sibTrans" cxnId="{90FAFDA6-0819-417F-9832-F0825B497DCA}">
      <dgm:prSet/>
      <dgm:spPr/>
      <dgm:t>
        <a:bodyPr/>
        <a:lstStyle/>
        <a:p>
          <a:endParaRPr lang="sk-SK"/>
        </a:p>
      </dgm:t>
    </dgm:pt>
    <dgm:pt modelId="{5E2565C9-6484-4921-B932-DE312518F72E}">
      <dgm:prSet/>
      <dgm:spPr/>
      <dgm:t>
        <a:bodyPr/>
        <a:lstStyle/>
        <a:p>
          <a:r>
            <a:rPr lang="sk-SK" dirty="0">
              <a:solidFill>
                <a:schemeClr val="tx1"/>
              </a:solidFill>
            </a:rPr>
            <a:t>Technická podpora ista chyby vyhodnocuje a </a:t>
          </a:r>
          <a:r>
            <a:rPr lang="sk-SK" dirty="0" err="1">
              <a:solidFill>
                <a:schemeClr val="tx1"/>
              </a:solidFill>
            </a:rPr>
            <a:t>průběžně</a:t>
          </a:r>
          <a:r>
            <a:rPr lang="sk-SK" dirty="0">
              <a:solidFill>
                <a:schemeClr val="tx1"/>
              </a:solidFill>
            </a:rPr>
            <a:t> </a:t>
          </a:r>
          <a:r>
            <a:rPr lang="sk-SK" dirty="0" err="1">
              <a:solidFill>
                <a:schemeClr val="tx1"/>
              </a:solidFill>
            </a:rPr>
            <a:t>řeší</a:t>
          </a:r>
          <a:r>
            <a:rPr lang="sk-SK" dirty="0">
              <a:solidFill>
                <a:schemeClr val="tx1"/>
              </a:solidFill>
            </a:rPr>
            <a:t>.</a:t>
          </a:r>
        </a:p>
      </dgm:t>
    </dgm:pt>
    <dgm:pt modelId="{155875CF-DACD-4C6F-9EF4-4C754B5E75EC}" type="parTrans" cxnId="{4CBD5965-3729-435C-9701-105C0BE1CEE6}">
      <dgm:prSet/>
      <dgm:spPr/>
      <dgm:t>
        <a:bodyPr/>
        <a:lstStyle/>
        <a:p>
          <a:endParaRPr lang="sk-SK"/>
        </a:p>
      </dgm:t>
    </dgm:pt>
    <dgm:pt modelId="{14A81A6F-18D2-4C5F-B9C2-563702D8D549}" type="sibTrans" cxnId="{4CBD5965-3729-435C-9701-105C0BE1CEE6}">
      <dgm:prSet/>
      <dgm:spPr/>
      <dgm:t>
        <a:bodyPr/>
        <a:lstStyle/>
        <a:p>
          <a:endParaRPr lang="sk-SK"/>
        </a:p>
      </dgm:t>
    </dgm:pt>
    <dgm:pt modelId="{3BB34FC9-3EA7-43C2-ACA7-9FF5FFE3D8AF}">
      <dgm:prSet/>
      <dgm:spPr>
        <a:solidFill>
          <a:schemeClr val="accent2"/>
        </a:solidFill>
      </dgm:spPr>
      <dgm:t>
        <a:bodyPr/>
        <a:lstStyle/>
        <a:p>
          <a:r>
            <a:rPr lang="sk-SK" dirty="0" err="1"/>
            <a:t>Správce</a:t>
          </a:r>
          <a:r>
            <a:rPr lang="sk-SK" dirty="0"/>
            <a:t> má </a:t>
          </a:r>
          <a:r>
            <a:rPr lang="sk-SK" dirty="0" err="1"/>
            <a:t>přehled</a:t>
          </a:r>
          <a:r>
            <a:rPr lang="sk-SK" dirty="0"/>
            <a:t> o </a:t>
          </a:r>
          <a:r>
            <a:rPr lang="sk-SK" dirty="0" err="1"/>
            <a:t>energetickém</a:t>
          </a:r>
          <a:r>
            <a:rPr lang="sk-SK" dirty="0"/>
            <a:t> </a:t>
          </a:r>
          <a:r>
            <a:rPr lang="sk-SK" dirty="0" err="1"/>
            <a:t>hospodaření</a:t>
          </a:r>
          <a:r>
            <a:rPr lang="sk-SK" dirty="0"/>
            <a:t> v </a:t>
          </a:r>
          <a:r>
            <a:rPr lang="sk-SK" dirty="0" err="1"/>
            <a:t>bytovém</a:t>
          </a:r>
          <a:r>
            <a:rPr lang="sk-SK" dirty="0"/>
            <a:t> </a:t>
          </a:r>
          <a:r>
            <a:rPr lang="sk-SK" dirty="0" err="1"/>
            <a:t>domě</a:t>
          </a:r>
          <a:r>
            <a:rPr lang="sk-SK" dirty="0"/>
            <a:t>/ </a:t>
          </a:r>
          <a:r>
            <a:rPr lang="sk-SK" dirty="0" err="1"/>
            <a:t>skupině</a:t>
          </a:r>
          <a:r>
            <a:rPr lang="sk-SK" dirty="0"/>
            <a:t> domů.</a:t>
          </a:r>
        </a:p>
      </dgm:t>
    </dgm:pt>
    <dgm:pt modelId="{7F39A470-E429-485D-90EB-8F77B9C199A8}" type="parTrans" cxnId="{7A4B279B-9AA1-48FA-B1D7-47110F7E4F1F}">
      <dgm:prSet/>
      <dgm:spPr/>
      <dgm:t>
        <a:bodyPr/>
        <a:lstStyle/>
        <a:p>
          <a:endParaRPr lang="sk-SK"/>
        </a:p>
      </dgm:t>
    </dgm:pt>
    <dgm:pt modelId="{4F760690-203C-4954-82A3-699AC44FD0BE}" type="sibTrans" cxnId="{7A4B279B-9AA1-48FA-B1D7-47110F7E4F1F}">
      <dgm:prSet/>
      <dgm:spPr/>
      <dgm:t>
        <a:bodyPr/>
        <a:lstStyle/>
        <a:p>
          <a:endParaRPr lang="sk-SK"/>
        </a:p>
      </dgm:t>
    </dgm:pt>
    <dgm:pt modelId="{FA10D76C-9FEF-4AA0-8CA3-9380B88CC3A6}">
      <dgm:prSet/>
      <dgm:spPr>
        <a:solidFill>
          <a:schemeClr val="accent3"/>
        </a:solidFill>
      </dgm:spPr>
      <dgm:t>
        <a:bodyPr/>
        <a:lstStyle/>
        <a:p>
          <a:r>
            <a:rPr lang="sk-SK" dirty="0"/>
            <a:t>Automatizovaný elektronický import </a:t>
          </a:r>
          <a:r>
            <a:rPr lang="sk-SK" dirty="0" err="1"/>
            <a:t>dat</a:t>
          </a:r>
          <a:r>
            <a:rPr lang="sk-SK" dirty="0"/>
            <a:t> </a:t>
          </a:r>
          <a:r>
            <a:rPr lang="sk-SK" dirty="0" err="1"/>
            <a:t>podle</a:t>
          </a:r>
          <a:r>
            <a:rPr lang="sk-SK" dirty="0"/>
            <a:t> </a:t>
          </a:r>
          <a:r>
            <a:rPr lang="sk-SK" dirty="0" err="1"/>
            <a:t>potřeb</a:t>
          </a:r>
          <a:r>
            <a:rPr lang="sk-SK" dirty="0"/>
            <a:t> </a:t>
          </a:r>
          <a:r>
            <a:rPr lang="sk-SK" dirty="0" err="1"/>
            <a:t>správce</a:t>
          </a:r>
          <a:r>
            <a:rPr lang="sk-SK" dirty="0"/>
            <a:t>.</a:t>
          </a:r>
        </a:p>
      </dgm:t>
    </dgm:pt>
    <dgm:pt modelId="{7017033B-FBE2-4C93-9EC9-E731B950B67B}" type="parTrans" cxnId="{7D938E42-9855-44C2-BE4B-CC065C07317B}">
      <dgm:prSet/>
      <dgm:spPr/>
      <dgm:t>
        <a:bodyPr/>
        <a:lstStyle/>
        <a:p>
          <a:endParaRPr lang="sk-SK"/>
        </a:p>
      </dgm:t>
    </dgm:pt>
    <dgm:pt modelId="{27E18B4D-2E58-4CAF-AF2F-7EBFC6DCA8C2}" type="sibTrans" cxnId="{7D938E42-9855-44C2-BE4B-CC065C07317B}">
      <dgm:prSet/>
      <dgm:spPr/>
      <dgm:t>
        <a:bodyPr/>
        <a:lstStyle/>
        <a:p>
          <a:endParaRPr lang="sk-SK"/>
        </a:p>
      </dgm:t>
    </dgm:pt>
    <dgm:pt modelId="{BDAC0177-9D7B-47C5-BF86-440741D444CB}">
      <dgm:prSet/>
      <dgm:spPr/>
      <dgm:t>
        <a:bodyPr/>
        <a:lstStyle/>
        <a:p>
          <a:r>
            <a:rPr lang="sk-SK" dirty="0" err="1"/>
            <a:t>Smart</a:t>
          </a:r>
          <a:r>
            <a:rPr lang="sk-SK" dirty="0"/>
            <a:t> </a:t>
          </a:r>
          <a:r>
            <a:rPr lang="sk-SK" dirty="0" err="1"/>
            <a:t>technologie</a:t>
          </a:r>
          <a:r>
            <a:rPr lang="sk-SK" dirty="0"/>
            <a:t> </a:t>
          </a:r>
          <a:r>
            <a:rPr lang="sk-SK" dirty="0" err="1"/>
            <a:t>dálkových</a:t>
          </a:r>
          <a:r>
            <a:rPr lang="sk-SK" dirty="0"/>
            <a:t> </a:t>
          </a:r>
          <a:r>
            <a:rPr lang="sk-SK" dirty="0" err="1"/>
            <a:t>odečtů</a:t>
          </a:r>
          <a:r>
            <a:rPr lang="sk-SK" dirty="0"/>
            <a:t> </a:t>
          </a:r>
          <a:r>
            <a:rPr lang="sk-SK" dirty="0" err="1"/>
            <a:t>otevírá</a:t>
          </a:r>
          <a:r>
            <a:rPr lang="sk-SK" dirty="0"/>
            <a:t> nové možnosti úspor – energetický management.</a:t>
          </a:r>
        </a:p>
      </dgm:t>
    </dgm:pt>
    <dgm:pt modelId="{4AD33DF6-F2F8-4D02-AB38-5CB61BC53798}" type="parTrans" cxnId="{FD431118-EC91-4205-9627-D0965C8C1841}">
      <dgm:prSet/>
      <dgm:spPr/>
      <dgm:t>
        <a:bodyPr/>
        <a:lstStyle/>
        <a:p>
          <a:endParaRPr lang="sk-SK"/>
        </a:p>
      </dgm:t>
    </dgm:pt>
    <dgm:pt modelId="{2E6FDC55-F206-4AD4-8318-C505726EFD70}" type="sibTrans" cxnId="{FD431118-EC91-4205-9627-D0965C8C1841}">
      <dgm:prSet/>
      <dgm:spPr/>
      <dgm:t>
        <a:bodyPr/>
        <a:lstStyle/>
        <a:p>
          <a:endParaRPr lang="sk-SK"/>
        </a:p>
      </dgm:t>
    </dgm:pt>
    <dgm:pt modelId="{D6028FC1-2B0D-4FA7-8DCD-489B253D10C4}">
      <dgm:prSet/>
      <dgm:spPr>
        <a:solidFill>
          <a:srgbClr val="84B400"/>
        </a:solidFill>
      </dgm:spPr>
      <dgm:t>
        <a:bodyPr/>
        <a:lstStyle/>
        <a:p>
          <a:r>
            <a:rPr lang="sk-SK" dirty="0"/>
            <a:t>Systém splňuje </a:t>
          </a:r>
          <a:r>
            <a:rPr lang="sk-SK" dirty="0" err="1"/>
            <a:t>požadavky</a:t>
          </a:r>
          <a:r>
            <a:rPr lang="sk-SK" dirty="0"/>
            <a:t> EED o </a:t>
          </a:r>
          <a:r>
            <a:rPr lang="sk-SK" dirty="0" err="1"/>
            <a:t>dálkových</a:t>
          </a:r>
          <a:r>
            <a:rPr lang="sk-SK" dirty="0"/>
            <a:t> </a:t>
          </a:r>
          <a:r>
            <a:rPr lang="sk-SK" dirty="0" err="1"/>
            <a:t>odečtech</a:t>
          </a:r>
          <a:r>
            <a:rPr lang="sk-SK" dirty="0"/>
            <a:t> a transparentnejších </a:t>
          </a:r>
          <a:r>
            <a:rPr lang="sk-SK" dirty="0" err="1"/>
            <a:t>informacích</a:t>
          </a:r>
          <a:r>
            <a:rPr lang="sk-SK" dirty="0"/>
            <a:t> o </a:t>
          </a:r>
          <a:r>
            <a:rPr lang="sk-SK" dirty="0" err="1"/>
            <a:t>spotřebě</a:t>
          </a:r>
          <a:r>
            <a:rPr lang="sk-SK" dirty="0"/>
            <a:t>.</a:t>
          </a:r>
        </a:p>
      </dgm:t>
    </dgm:pt>
    <dgm:pt modelId="{E4E29DC1-14AF-498A-BB57-2568BB7615B8}" type="parTrans" cxnId="{F5AF7B32-2BEE-4EAA-A9F2-995302BFB2A7}">
      <dgm:prSet/>
      <dgm:spPr/>
      <dgm:t>
        <a:bodyPr/>
        <a:lstStyle/>
        <a:p>
          <a:endParaRPr lang="sk-SK"/>
        </a:p>
      </dgm:t>
    </dgm:pt>
    <dgm:pt modelId="{1E120573-C45B-4AD5-8D5A-F7ADCE23684F}" type="sibTrans" cxnId="{F5AF7B32-2BEE-4EAA-A9F2-995302BFB2A7}">
      <dgm:prSet/>
      <dgm:spPr/>
      <dgm:t>
        <a:bodyPr/>
        <a:lstStyle/>
        <a:p>
          <a:endParaRPr lang="sk-SK"/>
        </a:p>
      </dgm:t>
    </dgm:pt>
    <dgm:pt modelId="{215B7A97-B6BA-49BD-A803-8A43000096D4}">
      <dgm:prSet/>
      <dgm:spPr/>
      <dgm:t>
        <a:bodyPr/>
        <a:lstStyle/>
        <a:p>
          <a:r>
            <a:rPr lang="sk-SK" dirty="0" err="1">
              <a:solidFill>
                <a:schemeClr val="tx1"/>
              </a:solidFill>
            </a:rPr>
            <a:t>Spravedlivější</a:t>
          </a:r>
          <a:r>
            <a:rPr lang="sk-SK" dirty="0">
              <a:solidFill>
                <a:schemeClr val="tx1"/>
              </a:solidFill>
            </a:rPr>
            <a:t> </a:t>
          </a:r>
          <a:r>
            <a:rPr lang="sk-SK" dirty="0" err="1">
              <a:solidFill>
                <a:schemeClr val="tx1"/>
              </a:solidFill>
            </a:rPr>
            <a:t>rozdělení</a:t>
          </a:r>
          <a:r>
            <a:rPr lang="sk-SK" dirty="0">
              <a:solidFill>
                <a:schemeClr val="tx1"/>
              </a:solidFill>
            </a:rPr>
            <a:t> </a:t>
          </a:r>
          <a:r>
            <a:rPr lang="sk-SK" dirty="0" err="1">
              <a:solidFill>
                <a:schemeClr val="tx1"/>
              </a:solidFill>
            </a:rPr>
            <a:t>nákladů</a:t>
          </a:r>
          <a:r>
            <a:rPr lang="sk-SK" dirty="0">
              <a:solidFill>
                <a:schemeClr val="tx1"/>
              </a:solidFill>
            </a:rPr>
            <a:t>. Bez </a:t>
          </a:r>
          <a:r>
            <a:rPr lang="sk-SK" dirty="0" err="1">
              <a:solidFill>
                <a:schemeClr val="tx1"/>
              </a:solidFill>
            </a:rPr>
            <a:t>náhradních</a:t>
          </a:r>
          <a:r>
            <a:rPr lang="sk-SK" dirty="0">
              <a:solidFill>
                <a:schemeClr val="tx1"/>
              </a:solidFill>
            </a:rPr>
            <a:t> </a:t>
          </a:r>
          <a:r>
            <a:rPr lang="sk-SK" dirty="0" err="1">
              <a:solidFill>
                <a:schemeClr val="tx1"/>
              </a:solidFill>
            </a:rPr>
            <a:t>spotřeb</a:t>
          </a:r>
          <a:r>
            <a:rPr lang="sk-SK" dirty="0">
              <a:solidFill>
                <a:schemeClr val="tx1"/>
              </a:solidFill>
            </a:rPr>
            <a:t> a </a:t>
          </a:r>
          <a:r>
            <a:rPr lang="sk-SK" dirty="0" err="1">
              <a:solidFill>
                <a:schemeClr val="tx1"/>
              </a:solidFill>
            </a:rPr>
            <a:t>sankcí</a:t>
          </a:r>
          <a:r>
            <a:rPr lang="sk-SK" dirty="0">
              <a:solidFill>
                <a:schemeClr val="tx1"/>
              </a:solidFill>
            </a:rPr>
            <a:t>. </a:t>
          </a:r>
          <a:r>
            <a:rPr lang="sk-SK" dirty="0" err="1">
              <a:solidFill>
                <a:schemeClr val="tx1"/>
              </a:solidFill>
            </a:rPr>
            <a:t>Odečet</a:t>
          </a:r>
          <a:r>
            <a:rPr lang="sk-SK" dirty="0">
              <a:solidFill>
                <a:schemeClr val="tx1"/>
              </a:solidFill>
            </a:rPr>
            <a:t> </a:t>
          </a:r>
          <a:r>
            <a:rPr lang="sk-SK" dirty="0" err="1">
              <a:solidFill>
                <a:schemeClr val="tx1"/>
              </a:solidFill>
            </a:rPr>
            <a:t>ze</a:t>
          </a:r>
          <a:r>
            <a:rPr lang="sk-SK" dirty="0">
              <a:solidFill>
                <a:schemeClr val="tx1"/>
              </a:solidFill>
            </a:rPr>
            <a:t> </a:t>
          </a:r>
          <a:r>
            <a:rPr lang="sk-SK" dirty="0" err="1">
              <a:solidFill>
                <a:schemeClr val="tx1"/>
              </a:solidFill>
            </a:rPr>
            <a:t>všech</a:t>
          </a:r>
          <a:r>
            <a:rPr lang="sk-SK" dirty="0">
              <a:solidFill>
                <a:schemeClr val="tx1"/>
              </a:solidFill>
            </a:rPr>
            <a:t> </a:t>
          </a:r>
          <a:r>
            <a:rPr lang="sk-SK" dirty="0" err="1">
              <a:solidFill>
                <a:schemeClr val="tx1"/>
              </a:solidFill>
            </a:rPr>
            <a:t>bytů</a:t>
          </a:r>
          <a:r>
            <a:rPr lang="sk-SK" dirty="0">
              <a:solidFill>
                <a:schemeClr val="tx1"/>
              </a:solidFill>
            </a:rPr>
            <a:t> k </a:t>
          </a:r>
          <a:r>
            <a:rPr lang="sk-SK" dirty="0" err="1">
              <a:solidFill>
                <a:schemeClr val="tx1"/>
              </a:solidFill>
            </a:rPr>
            <a:t>rozhodujícímu</a:t>
          </a:r>
          <a:r>
            <a:rPr lang="sk-SK" dirty="0">
              <a:solidFill>
                <a:schemeClr val="tx1"/>
              </a:solidFill>
            </a:rPr>
            <a:t> </a:t>
          </a:r>
          <a:r>
            <a:rPr lang="sk-SK" dirty="0" err="1">
              <a:solidFill>
                <a:schemeClr val="tx1"/>
              </a:solidFill>
            </a:rPr>
            <a:t>datu</a:t>
          </a:r>
          <a:r>
            <a:rPr lang="sk-SK" dirty="0">
              <a:solidFill>
                <a:schemeClr val="tx1"/>
              </a:solidFill>
            </a:rPr>
            <a:t> bez vstupu do budovy.</a:t>
          </a:r>
        </a:p>
      </dgm:t>
    </dgm:pt>
    <dgm:pt modelId="{667931D7-0612-40DA-BE98-00B6EADEBDA4}" type="parTrans" cxnId="{DC0E0AED-E71D-4561-8CC4-F1171898E54D}">
      <dgm:prSet/>
      <dgm:spPr/>
      <dgm:t>
        <a:bodyPr/>
        <a:lstStyle/>
        <a:p>
          <a:endParaRPr lang="cs-CZ"/>
        </a:p>
      </dgm:t>
    </dgm:pt>
    <dgm:pt modelId="{C8E3E3DD-747E-4309-9F0C-9A035E86392F}" type="sibTrans" cxnId="{DC0E0AED-E71D-4561-8CC4-F1171898E54D}">
      <dgm:prSet/>
      <dgm:spPr/>
      <dgm:t>
        <a:bodyPr/>
        <a:lstStyle/>
        <a:p>
          <a:endParaRPr lang="cs-CZ"/>
        </a:p>
      </dgm:t>
    </dgm:pt>
    <dgm:pt modelId="{1FA106C3-12A0-4BD0-B4F6-882FF57E0BE7}" type="pres">
      <dgm:prSet presAssocID="{A4007E20-64B3-4616-A0C3-75285AE07521}" presName="linear" presStyleCnt="0">
        <dgm:presLayoutVars>
          <dgm:animLvl val="lvl"/>
          <dgm:resizeHandles val="exact"/>
        </dgm:presLayoutVars>
      </dgm:prSet>
      <dgm:spPr/>
    </dgm:pt>
    <dgm:pt modelId="{3DFD96E4-79E2-4DCA-93A7-54B979808E5D}" type="pres">
      <dgm:prSet presAssocID="{474231CA-1C30-46E9-B152-124C05FB9F46}" presName="parentText" presStyleLbl="node1" presStyleIdx="0" presStyleCnt="8">
        <dgm:presLayoutVars>
          <dgm:chMax val="0"/>
          <dgm:bulletEnabled val="1"/>
        </dgm:presLayoutVars>
      </dgm:prSet>
      <dgm:spPr/>
    </dgm:pt>
    <dgm:pt modelId="{42803603-C1FD-491E-83FA-8F329A6A9EF7}" type="pres">
      <dgm:prSet presAssocID="{F8F518EB-5A39-4421-B30A-CEFD8F53AF60}" presName="spacer" presStyleCnt="0"/>
      <dgm:spPr/>
    </dgm:pt>
    <dgm:pt modelId="{438D69F6-5CB0-43FD-9F3B-F2006FF05C95}" type="pres">
      <dgm:prSet presAssocID="{DF17A813-25A2-4015-BB12-C99BB2CD5BFE}" presName="parentText" presStyleLbl="node1" presStyleIdx="1" presStyleCnt="8">
        <dgm:presLayoutVars>
          <dgm:chMax val="0"/>
          <dgm:bulletEnabled val="1"/>
        </dgm:presLayoutVars>
      </dgm:prSet>
      <dgm:spPr/>
    </dgm:pt>
    <dgm:pt modelId="{DDD10127-A3C2-4301-A453-14C6B3806133}" type="pres">
      <dgm:prSet presAssocID="{C30385E1-8684-4810-B54B-67586D8F7CB9}" presName="spacer" presStyleCnt="0"/>
      <dgm:spPr/>
    </dgm:pt>
    <dgm:pt modelId="{9B53B613-6895-429E-AF1E-CCC64F92572D}" type="pres">
      <dgm:prSet presAssocID="{5E2565C9-6484-4921-B932-DE312518F72E}" presName="parentText" presStyleLbl="node1" presStyleIdx="2" presStyleCnt="8">
        <dgm:presLayoutVars>
          <dgm:chMax val="0"/>
          <dgm:bulletEnabled val="1"/>
        </dgm:presLayoutVars>
      </dgm:prSet>
      <dgm:spPr/>
    </dgm:pt>
    <dgm:pt modelId="{1881305C-FE8D-47D1-8211-4E4B3F05865F}" type="pres">
      <dgm:prSet presAssocID="{14A81A6F-18D2-4C5F-B9C2-563702D8D549}" presName="spacer" presStyleCnt="0"/>
      <dgm:spPr/>
    </dgm:pt>
    <dgm:pt modelId="{2874FCB4-5B9D-4C15-B2B6-B86EA988AD5D}" type="pres">
      <dgm:prSet presAssocID="{3BB34FC9-3EA7-43C2-ACA7-9FF5FFE3D8AF}" presName="parentText" presStyleLbl="node1" presStyleIdx="3" presStyleCnt="8">
        <dgm:presLayoutVars>
          <dgm:chMax val="0"/>
          <dgm:bulletEnabled val="1"/>
        </dgm:presLayoutVars>
      </dgm:prSet>
      <dgm:spPr/>
    </dgm:pt>
    <dgm:pt modelId="{20D21251-5928-406B-9D3B-0D8527652486}" type="pres">
      <dgm:prSet presAssocID="{4F760690-203C-4954-82A3-699AC44FD0BE}" presName="spacer" presStyleCnt="0"/>
      <dgm:spPr/>
    </dgm:pt>
    <dgm:pt modelId="{43735355-49DD-40A1-9D76-AF69BA44B334}" type="pres">
      <dgm:prSet presAssocID="{FA10D76C-9FEF-4AA0-8CA3-9380B88CC3A6}" presName="parentText" presStyleLbl="node1" presStyleIdx="4" presStyleCnt="8">
        <dgm:presLayoutVars>
          <dgm:chMax val="0"/>
          <dgm:bulletEnabled val="1"/>
        </dgm:presLayoutVars>
      </dgm:prSet>
      <dgm:spPr/>
    </dgm:pt>
    <dgm:pt modelId="{9D5CB2C9-E644-424C-8864-36B0ADEFE9BA}" type="pres">
      <dgm:prSet presAssocID="{27E18B4D-2E58-4CAF-AF2F-7EBFC6DCA8C2}" presName="spacer" presStyleCnt="0"/>
      <dgm:spPr/>
    </dgm:pt>
    <dgm:pt modelId="{C6D7304A-3DB4-440B-A7E1-F530D88708CE}" type="pres">
      <dgm:prSet presAssocID="{BDAC0177-9D7B-47C5-BF86-440741D444CB}" presName="parentText" presStyleLbl="node1" presStyleIdx="5" presStyleCnt="8">
        <dgm:presLayoutVars>
          <dgm:chMax val="0"/>
          <dgm:bulletEnabled val="1"/>
        </dgm:presLayoutVars>
      </dgm:prSet>
      <dgm:spPr/>
    </dgm:pt>
    <dgm:pt modelId="{C62DA571-214E-4E4A-81E7-F7976AF585D8}" type="pres">
      <dgm:prSet presAssocID="{2E6FDC55-F206-4AD4-8318-C505726EFD70}" presName="spacer" presStyleCnt="0"/>
      <dgm:spPr/>
    </dgm:pt>
    <dgm:pt modelId="{D9847E22-56AD-4080-9A6C-57BFA1824DB0}" type="pres">
      <dgm:prSet presAssocID="{D6028FC1-2B0D-4FA7-8DCD-489B253D10C4}" presName="parentText" presStyleLbl="node1" presStyleIdx="6" presStyleCnt="8">
        <dgm:presLayoutVars>
          <dgm:chMax val="0"/>
          <dgm:bulletEnabled val="1"/>
        </dgm:presLayoutVars>
      </dgm:prSet>
      <dgm:spPr/>
    </dgm:pt>
    <dgm:pt modelId="{E9F14F06-B027-4E35-9255-BF3E81FB6947}" type="pres">
      <dgm:prSet presAssocID="{1E120573-C45B-4AD5-8D5A-F7ADCE23684F}" presName="spacer" presStyleCnt="0"/>
      <dgm:spPr/>
    </dgm:pt>
    <dgm:pt modelId="{D363D22A-613F-472D-AE0A-7D5ACC0D9EAB}" type="pres">
      <dgm:prSet presAssocID="{215B7A97-B6BA-49BD-A803-8A43000096D4}" presName="parentText" presStyleLbl="node1" presStyleIdx="7" presStyleCnt="8">
        <dgm:presLayoutVars>
          <dgm:chMax val="0"/>
          <dgm:bulletEnabled val="1"/>
        </dgm:presLayoutVars>
      </dgm:prSet>
      <dgm:spPr/>
    </dgm:pt>
  </dgm:ptLst>
  <dgm:cxnLst>
    <dgm:cxn modelId="{D2E41D08-460C-4D9B-B70A-10DB85A02223}" type="presOf" srcId="{FA10D76C-9FEF-4AA0-8CA3-9380B88CC3A6}" destId="{43735355-49DD-40A1-9D76-AF69BA44B334}" srcOrd="0" destOrd="0" presId="urn:microsoft.com/office/officeart/2005/8/layout/vList2"/>
    <dgm:cxn modelId="{FD431118-EC91-4205-9627-D0965C8C1841}" srcId="{A4007E20-64B3-4616-A0C3-75285AE07521}" destId="{BDAC0177-9D7B-47C5-BF86-440741D444CB}" srcOrd="5" destOrd="0" parTransId="{4AD33DF6-F2F8-4D02-AB38-5CB61BC53798}" sibTransId="{2E6FDC55-F206-4AD4-8318-C505726EFD70}"/>
    <dgm:cxn modelId="{390D5D18-D006-4EDE-A2C6-A42C584771F5}" type="presOf" srcId="{5E2565C9-6484-4921-B932-DE312518F72E}" destId="{9B53B613-6895-429E-AF1E-CCC64F92572D}" srcOrd="0" destOrd="0" presId="urn:microsoft.com/office/officeart/2005/8/layout/vList2"/>
    <dgm:cxn modelId="{899E5B1D-5B0E-473F-91DE-BACAB54C9DEE}" type="presOf" srcId="{DF17A813-25A2-4015-BB12-C99BB2CD5BFE}" destId="{438D69F6-5CB0-43FD-9F3B-F2006FF05C95}" srcOrd="0" destOrd="0" presId="urn:microsoft.com/office/officeart/2005/8/layout/vList2"/>
    <dgm:cxn modelId="{F5AF7B32-2BEE-4EAA-A9F2-995302BFB2A7}" srcId="{A4007E20-64B3-4616-A0C3-75285AE07521}" destId="{D6028FC1-2B0D-4FA7-8DCD-489B253D10C4}" srcOrd="6" destOrd="0" parTransId="{E4E29DC1-14AF-498A-BB57-2568BB7615B8}" sibTransId="{1E120573-C45B-4AD5-8D5A-F7ADCE23684F}"/>
    <dgm:cxn modelId="{05E63040-FC78-4E9C-A968-F3240A574B80}" type="presOf" srcId="{A4007E20-64B3-4616-A0C3-75285AE07521}" destId="{1FA106C3-12A0-4BD0-B4F6-882FF57E0BE7}" srcOrd="0" destOrd="0" presId="urn:microsoft.com/office/officeart/2005/8/layout/vList2"/>
    <dgm:cxn modelId="{7D938E42-9855-44C2-BE4B-CC065C07317B}" srcId="{A4007E20-64B3-4616-A0C3-75285AE07521}" destId="{FA10D76C-9FEF-4AA0-8CA3-9380B88CC3A6}" srcOrd="4" destOrd="0" parTransId="{7017033B-FBE2-4C93-9EC9-E731B950B67B}" sibTransId="{27E18B4D-2E58-4CAF-AF2F-7EBFC6DCA8C2}"/>
    <dgm:cxn modelId="{4CBD5965-3729-435C-9701-105C0BE1CEE6}" srcId="{A4007E20-64B3-4616-A0C3-75285AE07521}" destId="{5E2565C9-6484-4921-B932-DE312518F72E}" srcOrd="2" destOrd="0" parTransId="{155875CF-DACD-4C6F-9EF4-4C754B5E75EC}" sibTransId="{14A81A6F-18D2-4C5F-B9C2-563702D8D549}"/>
    <dgm:cxn modelId="{22724E4E-E587-4CA7-9540-89CC4A9A3810}" type="presOf" srcId="{D6028FC1-2B0D-4FA7-8DCD-489B253D10C4}" destId="{D9847E22-56AD-4080-9A6C-57BFA1824DB0}" srcOrd="0" destOrd="0" presId="urn:microsoft.com/office/officeart/2005/8/layout/vList2"/>
    <dgm:cxn modelId="{C007267A-0C25-49F7-9E6E-8DAF02637047}" type="presOf" srcId="{3BB34FC9-3EA7-43C2-ACA7-9FF5FFE3D8AF}" destId="{2874FCB4-5B9D-4C15-B2B6-B86EA988AD5D}" srcOrd="0" destOrd="0" presId="urn:microsoft.com/office/officeart/2005/8/layout/vList2"/>
    <dgm:cxn modelId="{2E4D9A7B-85F8-4AA7-8068-3D51274A139D}" srcId="{A4007E20-64B3-4616-A0C3-75285AE07521}" destId="{474231CA-1C30-46E9-B152-124C05FB9F46}" srcOrd="0" destOrd="0" parTransId="{3EFEDE62-DBD9-45DB-8EBD-989F72AD3347}" sibTransId="{F8F518EB-5A39-4421-B30A-CEFD8F53AF60}"/>
    <dgm:cxn modelId="{7A4B279B-9AA1-48FA-B1D7-47110F7E4F1F}" srcId="{A4007E20-64B3-4616-A0C3-75285AE07521}" destId="{3BB34FC9-3EA7-43C2-ACA7-9FF5FFE3D8AF}" srcOrd="3" destOrd="0" parTransId="{7F39A470-E429-485D-90EB-8F77B9C199A8}" sibTransId="{4F760690-203C-4954-82A3-699AC44FD0BE}"/>
    <dgm:cxn modelId="{F4DA7BA1-34BA-48DC-83DE-5390E34248EB}" type="presOf" srcId="{BDAC0177-9D7B-47C5-BF86-440741D444CB}" destId="{C6D7304A-3DB4-440B-A7E1-F530D88708CE}" srcOrd="0" destOrd="0" presId="urn:microsoft.com/office/officeart/2005/8/layout/vList2"/>
    <dgm:cxn modelId="{90FAFDA6-0819-417F-9832-F0825B497DCA}" srcId="{A4007E20-64B3-4616-A0C3-75285AE07521}" destId="{DF17A813-25A2-4015-BB12-C99BB2CD5BFE}" srcOrd="1" destOrd="0" parTransId="{9CFE28B2-1CD1-4E78-85DB-C5AFE9040067}" sibTransId="{C30385E1-8684-4810-B54B-67586D8F7CB9}"/>
    <dgm:cxn modelId="{41B455A8-5046-47FE-8DF2-487798E6CB48}" type="presOf" srcId="{215B7A97-B6BA-49BD-A803-8A43000096D4}" destId="{D363D22A-613F-472D-AE0A-7D5ACC0D9EAB}" srcOrd="0" destOrd="0" presId="urn:microsoft.com/office/officeart/2005/8/layout/vList2"/>
    <dgm:cxn modelId="{DC0E0AED-E71D-4561-8CC4-F1171898E54D}" srcId="{A4007E20-64B3-4616-A0C3-75285AE07521}" destId="{215B7A97-B6BA-49BD-A803-8A43000096D4}" srcOrd="7" destOrd="0" parTransId="{667931D7-0612-40DA-BE98-00B6EADEBDA4}" sibTransId="{C8E3E3DD-747E-4309-9F0C-9A035E86392F}"/>
    <dgm:cxn modelId="{29D38DFA-66FB-4B75-8705-591F7157F895}" type="presOf" srcId="{474231CA-1C30-46E9-B152-124C05FB9F46}" destId="{3DFD96E4-79E2-4DCA-93A7-54B979808E5D}" srcOrd="0" destOrd="0" presId="urn:microsoft.com/office/officeart/2005/8/layout/vList2"/>
    <dgm:cxn modelId="{63345B69-510A-4B71-ADC4-6FA074C11200}" type="presParOf" srcId="{1FA106C3-12A0-4BD0-B4F6-882FF57E0BE7}" destId="{3DFD96E4-79E2-4DCA-93A7-54B979808E5D}" srcOrd="0" destOrd="0" presId="urn:microsoft.com/office/officeart/2005/8/layout/vList2"/>
    <dgm:cxn modelId="{DC06575B-C746-4469-BFAB-74C589EE2AF7}" type="presParOf" srcId="{1FA106C3-12A0-4BD0-B4F6-882FF57E0BE7}" destId="{42803603-C1FD-491E-83FA-8F329A6A9EF7}" srcOrd="1" destOrd="0" presId="urn:microsoft.com/office/officeart/2005/8/layout/vList2"/>
    <dgm:cxn modelId="{29C7DDDC-A97F-4794-8ACE-7EC415344A3D}" type="presParOf" srcId="{1FA106C3-12A0-4BD0-B4F6-882FF57E0BE7}" destId="{438D69F6-5CB0-43FD-9F3B-F2006FF05C95}" srcOrd="2" destOrd="0" presId="urn:microsoft.com/office/officeart/2005/8/layout/vList2"/>
    <dgm:cxn modelId="{0B5229A7-D5B9-42B9-AC0F-F91EBACB35CB}" type="presParOf" srcId="{1FA106C3-12A0-4BD0-B4F6-882FF57E0BE7}" destId="{DDD10127-A3C2-4301-A453-14C6B3806133}" srcOrd="3" destOrd="0" presId="urn:microsoft.com/office/officeart/2005/8/layout/vList2"/>
    <dgm:cxn modelId="{37BACE88-8169-4DC2-9CD0-03D1AF7C85F9}" type="presParOf" srcId="{1FA106C3-12A0-4BD0-B4F6-882FF57E0BE7}" destId="{9B53B613-6895-429E-AF1E-CCC64F92572D}" srcOrd="4" destOrd="0" presId="urn:microsoft.com/office/officeart/2005/8/layout/vList2"/>
    <dgm:cxn modelId="{9AAE2054-E24C-4E5A-BFE3-39DA2271AD1F}" type="presParOf" srcId="{1FA106C3-12A0-4BD0-B4F6-882FF57E0BE7}" destId="{1881305C-FE8D-47D1-8211-4E4B3F05865F}" srcOrd="5" destOrd="0" presId="urn:microsoft.com/office/officeart/2005/8/layout/vList2"/>
    <dgm:cxn modelId="{407C3674-8E2B-4B5C-946C-FFB37B6A6055}" type="presParOf" srcId="{1FA106C3-12A0-4BD0-B4F6-882FF57E0BE7}" destId="{2874FCB4-5B9D-4C15-B2B6-B86EA988AD5D}" srcOrd="6" destOrd="0" presId="urn:microsoft.com/office/officeart/2005/8/layout/vList2"/>
    <dgm:cxn modelId="{E9CEB2BC-E625-499A-AB90-5EEE9B908B3A}" type="presParOf" srcId="{1FA106C3-12A0-4BD0-B4F6-882FF57E0BE7}" destId="{20D21251-5928-406B-9D3B-0D8527652486}" srcOrd="7" destOrd="0" presId="urn:microsoft.com/office/officeart/2005/8/layout/vList2"/>
    <dgm:cxn modelId="{E289644E-4090-4790-8B21-6454DDCC5B31}" type="presParOf" srcId="{1FA106C3-12A0-4BD0-B4F6-882FF57E0BE7}" destId="{43735355-49DD-40A1-9D76-AF69BA44B334}" srcOrd="8" destOrd="0" presId="urn:microsoft.com/office/officeart/2005/8/layout/vList2"/>
    <dgm:cxn modelId="{82AE3072-05FE-485C-B2E4-00A08A0EB39F}" type="presParOf" srcId="{1FA106C3-12A0-4BD0-B4F6-882FF57E0BE7}" destId="{9D5CB2C9-E644-424C-8864-36B0ADEFE9BA}" srcOrd="9" destOrd="0" presId="urn:microsoft.com/office/officeart/2005/8/layout/vList2"/>
    <dgm:cxn modelId="{E7FFEE46-C342-4C69-92B2-E7E182421E87}" type="presParOf" srcId="{1FA106C3-12A0-4BD0-B4F6-882FF57E0BE7}" destId="{C6D7304A-3DB4-440B-A7E1-F530D88708CE}" srcOrd="10" destOrd="0" presId="urn:microsoft.com/office/officeart/2005/8/layout/vList2"/>
    <dgm:cxn modelId="{D1150262-228E-4BD1-BDA8-E0B06BFFDA98}" type="presParOf" srcId="{1FA106C3-12A0-4BD0-B4F6-882FF57E0BE7}" destId="{C62DA571-214E-4E4A-81E7-F7976AF585D8}" srcOrd="11" destOrd="0" presId="urn:microsoft.com/office/officeart/2005/8/layout/vList2"/>
    <dgm:cxn modelId="{3A08F6DF-3D3D-4D5A-AF09-FAF4EFB2F16B}" type="presParOf" srcId="{1FA106C3-12A0-4BD0-B4F6-882FF57E0BE7}" destId="{D9847E22-56AD-4080-9A6C-57BFA1824DB0}" srcOrd="12" destOrd="0" presId="urn:microsoft.com/office/officeart/2005/8/layout/vList2"/>
    <dgm:cxn modelId="{96A35FE0-63EE-4D6D-A025-622D07ECF4DA}" type="presParOf" srcId="{1FA106C3-12A0-4BD0-B4F6-882FF57E0BE7}" destId="{E9F14F06-B027-4E35-9255-BF3E81FB6947}" srcOrd="13" destOrd="0" presId="urn:microsoft.com/office/officeart/2005/8/layout/vList2"/>
    <dgm:cxn modelId="{CB8E33E6-E058-4D2C-94CD-C0826B8A0E9B}" type="presParOf" srcId="{1FA106C3-12A0-4BD0-B4F6-882FF57E0BE7}" destId="{D363D22A-613F-472D-AE0A-7D5ACC0D9EAB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FD96E4-79E2-4DCA-93A7-54B979808E5D}">
      <dsp:nvSpPr>
        <dsp:cNvPr id="0" name=""/>
        <dsp:cNvSpPr/>
      </dsp:nvSpPr>
      <dsp:spPr>
        <a:xfrm>
          <a:off x="0" y="11529"/>
          <a:ext cx="8236485" cy="53235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400" kern="1200" dirty="0"/>
            <a:t>Reklamace a </a:t>
          </a:r>
          <a:r>
            <a:rPr lang="sk-SK" sz="1400" kern="1200" dirty="0" err="1"/>
            <a:t>nesrovnalosti</a:t>
          </a:r>
          <a:r>
            <a:rPr lang="sk-SK" sz="1400" kern="1200" dirty="0"/>
            <a:t> </a:t>
          </a:r>
          <a:r>
            <a:rPr lang="sk-SK" sz="1400" kern="1200" dirty="0" err="1"/>
            <a:t>ve</a:t>
          </a:r>
          <a:r>
            <a:rPr lang="sk-SK" sz="1400" kern="1200" dirty="0"/>
            <a:t> </a:t>
          </a:r>
          <a:r>
            <a:rPr lang="sk-SK" sz="1400" kern="1200" dirty="0" err="1"/>
            <a:t>vyúčtování</a:t>
          </a:r>
          <a:r>
            <a:rPr lang="sk-SK" sz="1400" kern="1200" dirty="0"/>
            <a:t> je možné </a:t>
          </a:r>
          <a:r>
            <a:rPr lang="sk-SK" sz="1400" kern="1200" dirty="0" err="1"/>
            <a:t>jednodušeji</a:t>
          </a:r>
          <a:r>
            <a:rPr lang="sk-SK" sz="1400" kern="1200" dirty="0"/>
            <a:t> </a:t>
          </a:r>
          <a:r>
            <a:rPr lang="sk-SK" sz="1400" kern="1200" dirty="0" err="1"/>
            <a:t>vysvětlit</a:t>
          </a:r>
          <a:r>
            <a:rPr lang="sk-SK" sz="1400" kern="1200" dirty="0"/>
            <a:t>.</a:t>
          </a:r>
        </a:p>
      </dsp:txBody>
      <dsp:txXfrm>
        <a:off x="25987" y="37516"/>
        <a:ext cx="8184511" cy="480376"/>
      </dsp:txXfrm>
    </dsp:sp>
    <dsp:sp modelId="{438D69F6-5CB0-43FD-9F3B-F2006FF05C95}">
      <dsp:nvSpPr>
        <dsp:cNvPr id="0" name=""/>
        <dsp:cNvSpPr/>
      </dsp:nvSpPr>
      <dsp:spPr>
        <a:xfrm>
          <a:off x="0" y="584199"/>
          <a:ext cx="8236485" cy="532350"/>
        </a:xfrm>
        <a:prstGeom prst="roundRect">
          <a:avLst/>
        </a:prstGeom>
        <a:solidFill>
          <a:srgbClr val="84B4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400" kern="1200" dirty="0"/>
            <a:t>Automatický monitoring chyb včas odhalí poruchy a </a:t>
          </a:r>
          <a:r>
            <a:rPr lang="sk-SK" sz="1400" kern="1200" dirty="0" err="1"/>
            <a:t>nežádoucí</a:t>
          </a:r>
          <a:r>
            <a:rPr lang="sk-SK" sz="1400" kern="1200" dirty="0"/>
            <a:t> stavy.</a:t>
          </a:r>
        </a:p>
      </dsp:txBody>
      <dsp:txXfrm>
        <a:off x="25987" y="610186"/>
        <a:ext cx="8184511" cy="480376"/>
      </dsp:txXfrm>
    </dsp:sp>
    <dsp:sp modelId="{9B53B613-6895-429E-AF1E-CCC64F92572D}">
      <dsp:nvSpPr>
        <dsp:cNvPr id="0" name=""/>
        <dsp:cNvSpPr/>
      </dsp:nvSpPr>
      <dsp:spPr>
        <a:xfrm>
          <a:off x="0" y="1156869"/>
          <a:ext cx="8236485" cy="53235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400" kern="1200" dirty="0">
              <a:solidFill>
                <a:schemeClr val="tx1"/>
              </a:solidFill>
            </a:rPr>
            <a:t>Technická podpora ista chyby vyhodnocuje a </a:t>
          </a:r>
          <a:r>
            <a:rPr lang="sk-SK" sz="1400" kern="1200" dirty="0" err="1">
              <a:solidFill>
                <a:schemeClr val="tx1"/>
              </a:solidFill>
            </a:rPr>
            <a:t>průběžně</a:t>
          </a:r>
          <a:r>
            <a:rPr lang="sk-SK" sz="1400" kern="1200" dirty="0">
              <a:solidFill>
                <a:schemeClr val="tx1"/>
              </a:solidFill>
            </a:rPr>
            <a:t> </a:t>
          </a:r>
          <a:r>
            <a:rPr lang="sk-SK" sz="1400" kern="1200" dirty="0" err="1">
              <a:solidFill>
                <a:schemeClr val="tx1"/>
              </a:solidFill>
            </a:rPr>
            <a:t>řeší</a:t>
          </a:r>
          <a:r>
            <a:rPr lang="sk-SK" sz="1400" kern="1200" dirty="0">
              <a:solidFill>
                <a:schemeClr val="tx1"/>
              </a:solidFill>
            </a:rPr>
            <a:t>.</a:t>
          </a:r>
        </a:p>
      </dsp:txBody>
      <dsp:txXfrm>
        <a:off x="25987" y="1182856"/>
        <a:ext cx="8184511" cy="480376"/>
      </dsp:txXfrm>
    </dsp:sp>
    <dsp:sp modelId="{2874FCB4-5B9D-4C15-B2B6-B86EA988AD5D}">
      <dsp:nvSpPr>
        <dsp:cNvPr id="0" name=""/>
        <dsp:cNvSpPr/>
      </dsp:nvSpPr>
      <dsp:spPr>
        <a:xfrm>
          <a:off x="0" y="1729539"/>
          <a:ext cx="8236485" cy="532350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400" kern="1200" dirty="0" err="1"/>
            <a:t>Správce</a:t>
          </a:r>
          <a:r>
            <a:rPr lang="sk-SK" sz="1400" kern="1200" dirty="0"/>
            <a:t> má </a:t>
          </a:r>
          <a:r>
            <a:rPr lang="sk-SK" sz="1400" kern="1200" dirty="0" err="1"/>
            <a:t>přehled</a:t>
          </a:r>
          <a:r>
            <a:rPr lang="sk-SK" sz="1400" kern="1200" dirty="0"/>
            <a:t> o </a:t>
          </a:r>
          <a:r>
            <a:rPr lang="sk-SK" sz="1400" kern="1200" dirty="0" err="1"/>
            <a:t>energetickém</a:t>
          </a:r>
          <a:r>
            <a:rPr lang="sk-SK" sz="1400" kern="1200" dirty="0"/>
            <a:t> </a:t>
          </a:r>
          <a:r>
            <a:rPr lang="sk-SK" sz="1400" kern="1200" dirty="0" err="1"/>
            <a:t>hospodaření</a:t>
          </a:r>
          <a:r>
            <a:rPr lang="sk-SK" sz="1400" kern="1200" dirty="0"/>
            <a:t> v </a:t>
          </a:r>
          <a:r>
            <a:rPr lang="sk-SK" sz="1400" kern="1200" dirty="0" err="1"/>
            <a:t>bytovém</a:t>
          </a:r>
          <a:r>
            <a:rPr lang="sk-SK" sz="1400" kern="1200" dirty="0"/>
            <a:t> </a:t>
          </a:r>
          <a:r>
            <a:rPr lang="sk-SK" sz="1400" kern="1200" dirty="0" err="1"/>
            <a:t>domě</a:t>
          </a:r>
          <a:r>
            <a:rPr lang="sk-SK" sz="1400" kern="1200" dirty="0"/>
            <a:t>/ </a:t>
          </a:r>
          <a:r>
            <a:rPr lang="sk-SK" sz="1400" kern="1200" dirty="0" err="1"/>
            <a:t>skupině</a:t>
          </a:r>
          <a:r>
            <a:rPr lang="sk-SK" sz="1400" kern="1200" dirty="0"/>
            <a:t> domů.</a:t>
          </a:r>
        </a:p>
      </dsp:txBody>
      <dsp:txXfrm>
        <a:off x="25987" y="1755526"/>
        <a:ext cx="8184511" cy="480376"/>
      </dsp:txXfrm>
    </dsp:sp>
    <dsp:sp modelId="{43735355-49DD-40A1-9D76-AF69BA44B334}">
      <dsp:nvSpPr>
        <dsp:cNvPr id="0" name=""/>
        <dsp:cNvSpPr/>
      </dsp:nvSpPr>
      <dsp:spPr>
        <a:xfrm>
          <a:off x="0" y="2302209"/>
          <a:ext cx="8236485" cy="532350"/>
        </a:xfrm>
        <a:prstGeom prst="roundRect">
          <a:avLst/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400" kern="1200" dirty="0"/>
            <a:t>Automatizovaný elektronický import </a:t>
          </a:r>
          <a:r>
            <a:rPr lang="sk-SK" sz="1400" kern="1200" dirty="0" err="1"/>
            <a:t>dat</a:t>
          </a:r>
          <a:r>
            <a:rPr lang="sk-SK" sz="1400" kern="1200" dirty="0"/>
            <a:t> </a:t>
          </a:r>
          <a:r>
            <a:rPr lang="sk-SK" sz="1400" kern="1200" dirty="0" err="1"/>
            <a:t>podle</a:t>
          </a:r>
          <a:r>
            <a:rPr lang="sk-SK" sz="1400" kern="1200" dirty="0"/>
            <a:t> </a:t>
          </a:r>
          <a:r>
            <a:rPr lang="sk-SK" sz="1400" kern="1200" dirty="0" err="1"/>
            <a:t>potřeb</a:t>
          </a:r>
          <a:r>
            <a:rPr lang="sk-SK" sz="1400" kern="1200" dirty="0"/>
            <a:t> </a:t>
          </a:r>
          <a:r>
            <a:rPr lang="sk-SK" sz="1400" kern="1200" dirty="0" err="1"/>
            <a:t>správce</a:t>
          </a:r>
          <a:r>
            <a:rPr lang="sk-SK" sz="1400" kern="1200" dirty="0"/>
            <a:t>.</a:t>
          </a:r>
        </a:p>
      </dsp:txBody>
      <dsp:txXfrm>
        <a:off x="25987" y="2328196"/>
        <a:ext cx="8184511" cy="480376"/>
      </dsp:txXfrm>
    </dsp:sp>
    <dsp:sp modelId="{C6D7304A-3DB4-440B-A7E1-F530D88708CE}">
      <dsp:nvSpPr>
        <dsp:cNvPr id="0" name=""/>
        <dsp:cNvSpPr/>
      </dsp:nvSpPr>
      <dsp:spPr>
        <a:xfrm>
          <a:off x="0" y="2874879"/>
          <a:ext cx="8236485" cy="53235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400" kern="1200" dirty="0" err="1"/>
            <a:t>Smart</a:t>
          </a:r>
          <a:r>
            <a:rPr lang="sk-SK" sz="1400" kern="1200" dirty="0"/>
            <a:t> </a:t>
          </a:r>
          <a:r>
            <a:rPr lang="sk-SK" sz="1400" kern="1200" dirty="0" err="1"/>
            <a:t>technologie</a:t>
          </a:r>
          <a:r>
            <a:rPr lang="sk-SK" sz="1400" kern="1200" dirty="0"/>
            <a:t> </a:t>
          </a:r>
          <a:r>
            <a:rPr lang="sk-SK" sz="1400" kern="1200" dirty="0" err="1"/>
            <a:t>dálkových</a:t>
          </a:r>
          <a:r>
            <a:rPr lang="sk-SK" sz="1400" kern="1200" dirty="0"/>
            <a:t> </a:t>
          </a:r>
          <a:r>
            <a:rPr lang="sk-SK" sz="1400" kern="1200" dirty="0" err="1"/>
            <a:t>odečtů</a:t>
          </a:r>
          <a:r>
            <a:rPr lang="sk-SK" sz="1400" kern="1200" dirty="0"/>
            <a:t> </a:t>
          </a:r>
          <a:r>
            <a:rPr lang="sk-SK" sz="1400" kern="1200" dirty="0" err="1"/>
            <a:t>otevírá</a:t>
          </a:r>
          <a:r>
            <a:rPr lang="sk-SK" sz="1400" kern="1200" dirty="0"/>
            <a:t> nové možnosti úspor – energetický management.</a:t>
          </a:r>
        </a:p>
      </dsp:txBody>
      <dsp:txXfrm>
        <a:off x="25987" y="2900866"/>
        <a:ext cx="8184511" cy="480376"/>
      </dsp:txXfrm>
    </dsp:sp>
    <dsp:sp modelId="{D9847E22-56AD-4080-9A6C-57BFA1824DB0}">
      <dsp:nvSpPr>
        <dsp:cNvPr id="0" name=""/>
        <dsp:cNvSpPr/>
      </dsp:nvSpPr>
      <dsp:spPr>
        <a:xfrm>
          <a:off x="0" y="3447549"/>
          <a:ext cx="8236485" cy="532350"/>
        </a:xfrm>
        <a:prstGeom prst="roundRect">
          <a:avLst/>
        </a:prstGeom>
        <a:solidFill>
          <a:srgbClr val="84B4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400" kern="1200" dirty="0"/>
            <a:t>Systém splňuje </a:t>
          </a:r>
          <a:r>
            <a:rPr lang="sk-SK" sz="1400" kern="1200" dirty="0" err="1"/>
            <a:t>požadavky</a:t>
          </a:r>
          <a:r>
            <a:rPr lang="sk-SK" sz="1400" kern="1200" dirty="0"/>
            <a:t> EED o </a:t>
          </a:r>
          <a:r>
            <a:rPr lang="sk-SK" sz="1400" kern="1200" dirty="0" err="1"/>
            <a:t>dálkových</a:t>
          </a:r>
          <a:r>
            <a:rPr lang="sk-SK" sz="1400" kern="1200" dirty="0"/>
            <a:t> </a:t>
          </a:r>
          <a:r>
            <a:rPr lang="sk-SK" sz="1400" kern="1200" dirty="0" err="1"/>
            <a:t>odečtech</a:t>
          </a:r>
          <a:r>
            <a:rPr lang="sk-SK" sz="1400" kern="1200" dirty="0"/>
            <a:t> a transparentnejších </a:t>
          </a:r>
          <a:r>
            <a:rPr lang="sk-SK" sz="1400" kern="1200" dirty="0" err="1"/>
            <a:t>informacích</a:t>
          </a:r>
          <a:r>
            <a:rPr lang="sk-SK" sz="1400" kern="1200" dirty="0"/>
            <a:t> o </a:t>
          </a:r>
          <a:r>
            <a:rPr lang="sk-SK" sz="1400" kern="1200" dirty="0" err="1"/>
            <a:t>spotřebě</a:t>
          </a:r>
          <a:r>
            <a:rPr lang="sk-SK" sz="1400" kern="1200" dirty="0"/>
            <a:t>.</a:t>
          </a:r>
        </a:p>
      </dsp:txBody>
      <dsp:txXfrm>
        <a:off x="25987" y="3473536"/>
        <a:ext cx="8184511" cy="480376"/>
      </dsp:txXfrm>
    </dsp:sp>
    <dsp:sp modelId="{D363D22A-613F-472D-AE0A-7D5ACC0D9EAB}">
      <dsp:nvSpPr>
        <dsp:cNvPr id="0" name=""/>
        <dsp:cNvSpPr/>
      </dsp:nvSpPr>
      <dsp:spPr>
        <a:xfrm>
          <a:off x="0" y="4020219"/>
          <a:ext cx="8236485" cy="532350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400" kern="1200" dirty="0" err="1">
              <a:solidFill>
                <a:schemeClr val="tx1"/>
              </a:solidFill>
            </a:rPr>
            <a:t>Spravedlivější</a:t>
          </a:r>
          <a:r>
            <a:rPr lang="sk-SK" sz="1400" kern="1200" dirty="0">
              <a:solidFill>
                <a:schemeClr val="tx1"/>
              </a:solidFill>
            </a:rPr>
            <a:t> </a:t>
          </a:r>
          <a:r>
            <a:rPr lang="sk-SK" sz="1400" kern="1200" dirty="0" err="1">
              <a:solidFill>
                <a:schemeClr val="tx1"/>
              </a:solidFill>
            </a:rPr>
            <a:t>rozdělení</a:t>
          </a:r>
          <a:r>
            <a:rPr lang="sk-SK" sz="1400" kern="1200" dirty="0">
              <a:solidFill>
                <a:schemeClr val="tx1"/>
              </a:solidFill>
            </a:rPr>
            <a:t> </a:t>
          </a:r>
          <a:r>
            <a:rPr lang="sk-SK" sz="1400" kern="1200" dirty="0" err="1">
              <a:solidFill>
                <a:schemeClr val="tx1"/>
              </a:solidFill>
            </a:rPr>
            <a:t>nákladů</a:t>
          </a:r>
          <a:r>
            <a:rPr lang="sk-SK" sz="1400" kern="1200" dirty="0">
              <a:solidFill>
                <a:schemeClr val="tx1"/>
              </a:solidFill>
            </a:rPr>
            <a:t>. Bez </a:t>
          </a:r>
          <a:r>
            <a:rPr lang="sk-SK" sz="1400" kern="1200" dirty="0" err="1">
              <a:solidFill>
                <a:schemeClr val="tx1"/>
              </a:solidFill>
            </a:rPr>
            <a:t>náhradních</a:t>
          </a:r>
          <a:r>
            <a:rPr lang="sk-SK" sz="1400" kern="1200" dirty="0">
              <a:solidFill>
                <a:schemeClr val="tx1"/>
              </a:solidFill>
            </a:rPr>
            <a:t> </a:t>
          </a:r>
          <a:r>
            <a:rPr lang="sk-SK" sz="1400" kern="1200" dirty="0" err="1">
              <a:solidFill>
                <a:schemeClr val="tx1"/>
              </a:solidFill>
            </a:rPr>
            <a:t>spotřeb</a:t>
          </a:r>
          <a:r>
            <a:rPr lang="sk-SK" sz="1400" kern="1200" dirty="0">
              <a:solidFill>
                <a:schemeClr val="tx1"/>
              </a:solidFill>
            </a:rPr>
            <a:t> a </a:t>
          </a:r>
          <a:r>
            <a:rPr lang="sk-SK" sz="1400" kern="1200" dirty="0" err="1">
              <a:solidFill>
                <a:schemeClr val="tx1"/>
              </a:solidFill>
            </a:rPr>
            <a:t>sankcí</a:t>
          </a:r>
          <a:r>
            <a:rPr lang="sk-SK" sz="1400" kern="1200" dirty="0">
              <a:solidFill>
                <a:schemeClr val="tx1"/>
              </a:solidFill>
            </a:rPr>
            <a:t>. </a:t>
          </a:r>
          <a:r>
            <a:rPr lang="sk-SK" sz="1400" kern="1200" dirty="0" err="1">
              <a:solidFill>
                <a:schemeClr val="tx1"/>
              </a:solidFill>
            </a:rPr>
            <a:t>Odečet</a:t>
          </a:r>
          <a:r>
            <a:rPr lang="sk-SK" sz="1400" kern="1200" dirty="0">
              <a:solidFill>
                <a:schemeClr val="tx1"/>
              </a:solidFill>
            </a:rPr>
            <a:t> </a:t>
          </a:r>
          <a:r>
            <a:rPr lang="sk-SK" sz="1400" kern="1200" dirty="0" err="1">
              <a:solidFill>
                <a:schemeClr val="tx1"/>
              </a:solidFill>
            </a:rPr>
            <a:t>ze</a:t>
          </a:r>
          <a:r>
            <a:rPr lang="sk-SK" sz="1400" kern="1200" dirty="0">
              <a:solidFill>
                <a:schemeClr val="tx1"/>
              </a:solidFill>
            </a:rPr>
            <a:t> </a:t>
          </a:r>
          <a:r>
            <a:rPr lang="sk-SK" sz="1400" kern="1200" dirty="0" err="1">
              <a:solidFill>
                <a:schemeClr val="tx1"/>
              </a:solidFill>
            </a:rPr>
            <a:t>všech</a:t>
          </a:r>
          <a:r>
            <a:rPr lang="sk-SK" sz="1400" kern="1200" dirty="0">
              <a:solidFill>
                <a:schemeClr val="tx1"/>
              </a:solidFill>
            </a:rPr>
            <a:t> </a:t>
          </a:r>
          <a:r>
            <a:rPr lang="sk-SK" sz="1400" kern="1200" dirty="0" err="1">
              <a:solidFill>
                <a:schemeClr val="tx1"/>
              </a:solidFill>
            </a:rPr>
            <a:t>bytů</a:t>
          </a:r>
          <a:r>
            <a:rPr lang="sk-SK" sz="1400" kern="1200" dirty="0">
              <a:solidFill>
                <a:schemeClr val="tx1"/>
              </a:solidFill>
            </a:rPr>
            <a:t> k </a:t>
          </a:r>
          <a:r>
            <a:rPr lang="sk-SK" sz="1400" kern="1200" dirty="0" err="1">
              <a:solidFill>
                <a:schemeClr val="tx1"/>
              </a:solidFill>
            </a:rPr>
            <a:t>rozhodujícímu</a:t>
          </a:r>
          <a:r>
            <a:rPr lang="sk-SK" sz="1400" kern="1200" dirty="0">
              <a:solidFill>
                <a:schemeClr val="tx1"/>
              </a:solidFill>
            </a:rPr>
            <a:t> </a:t>
          </a:r>
          <a:r>
            <a:rPr lang="sk-SK" sz="1400" kern="1200" dirty="0" err="1">
              <a:solidFill>
                <a:schemeClr val="tx1"/>
              </a:solidFill>
            </a:rPr>
            <a:t>datu</a:t>
          </a:r>
          <a:r>
            <a:rPr lang="sk-SK" sz="1400" kern="1200" dirty="0">
              <a:solidFill>
                <a:schemeClr val="tx1"/>
              </a:solidFill>
            </a:rPr>
            <a:t> bez vstupu do budovy.</a:t>
          </a:r>
        </a:p>
      </dsp:txBody>
      <dsp:txXfrm>
        <a:off x="25987" y="4046206"/>
        <a:ext cx="8184511" cy="4803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08908" y="9267178"/>
            <a:ext cx="713333" cy="3910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30ED154E-B105-4B8C-82AB-F9F030B5B7A0}" type="datetime1">
              <a:rPr lang="en-GB" sz="1000" smtClean="0"/>
              <a:t>05/10/2020</a:t>
            </a:fld>
            <a:endParaRPr lang="de-DE" sz="10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72774" y="9267178"/>
            <a:ext cx="2639111" cy="39104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de-DE" sz="1000" dirty="0"/>
              <a:t>Foo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218917" y="9267179"/>
            <a:ext cx="356667" cy="40052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pPr algn="ctr"/>
            <a:fld id="{E5BBCCF6-F8A8-4C49-BF3D-CA1AA74CA975}" type="slidenum">
              <a:rPr lang="de-DE" sz="1000" smtClean="0"/>
              <a:pPr algn="ctr"/>
              <a:t>‹#›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143861194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4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31775" y="976313"/>
            <a:ext cx="5473700" cy="3079750"/>
          </a:xfrm>
          <a:prstGeom prst="rect">
            <a:avLst/>
          </a:prstGeom>
          <a:noFill/>
          <a:ln w="6350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2259" y="4418239"/>
            <a:ext cx="5849333" cy="43796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9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08908" y="9267178"/>
            <a:ext cx="713333" cy="391017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9EAD56A3-1790-4A49-AFAD-B1CFF0F474E4}" type="datetime1">
              <a:rPr lang="en-GB" sz="1000" smtClean="0"/>
              <a:t>05/10/2020</a:t>
            </a:fld>
            <a:endParaRPr lang="de-DE" sz="1000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4"/>
          </p:nvPr>
        </p:nvSpPr>
        <p:spPr>
          <a:xfrm>
            <a:off x="472774" y="9267178"/>
            <a:ext cx="2639111" cy="39104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r>
              <a:rPr lang="de-DE" sz="1000" dirty="0"/>
              <a:t>Footer</a:t>
            </a: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3218917" y="9267179"/>
            <a:ext cx="356667" cy="40052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E5BBCCF6-F8A8-4C49-BF3D-CA1AA74CA975}" type="slidenum">
              <a:rPr lang="de-DE" sz="1000" smtClean="0"/>
              <a:t>‹#›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84619873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lnSpc>
        <a:spcPct val="110000"/>
      </a:lnSpc>
      <a:spcBef>
        <a:spcPts val="600"/>
      </a:spcBef>
      <a:defRPr sz="1200" b="0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lnSpc>
        <a:spcPct val="110000"/>
      </a:lnSpc>
      <a:spcBef>
        <a:spcPts val="600"/>
      </a:spcBef>
      <a:spcAft>
        <a:spcPts val="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lnSpc>
        <a:spcPct val="110000"/>
      </a:lnSpc>
      <a:spcBef>
        <a:spcPts val="400"/>
      </a:spcBef>
      <a:spcAft>
        <a:spcPts val="0"/>
      </a:spcAft>
      <a:buClr>
        <a:schemeClr val="bg2"/>
      </a:buClr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24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468000" indent="-144000" algn="l" defTabSz="914400" rtl="0" eaLnBrk="1" latinLnBrk="0" hangingPunct="1">
      <a:lnSpc>
        <a:spcPct val="110000"/>
      </a:lnSpc>
      <a:spcBef>
        <a:spcPts val="100"/>
      </a:spcBef>
      <a:spcAft>
        <a:spcPts val="0"/>
      </a:spcAft>
      <a:buClrTx/>
      <a:buSzPct val="100000"/>
      <a:buFont typeface="Wingdings 2" panose="05020102010507070707" pitchFamily="18" charset="2"/>
      <a:buChar char="¡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299" userDrawn="1">
          <p15:clr>
            <a:srgbClr val="F26B43"/>
          </p15:clr>
        </p15:guide>
        <p15:guide id="2" pos="398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1775" y="977900"/>
            <a:ext cx="5473700" cy="3079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66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88046A6-66FB-4A17-ACEC-AC221BE1CD84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66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78169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1775" y="977900"/>
            <a:ext cx="5473700" cy="3079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66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5D0F127-F0D3-4218-9340-F65A621A5F7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66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289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900113"/>
            <a:ext cx="5040313" cy="283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BBCCF6-F8A8-4C49-BF3D-CA1AA74CA975}" type="slidenum">
              <a:rPr lang="de-DE" sz="1000" smtClean="0"/>
              <a:t>2</a:t>
            </a:fld>
            <a:endParaRPr lang="de-DE" sz="1000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CAE765-2F59-4D0D-93F0-8558AB6176AE}"/>
              </a:ext>
            </a:extLst>
          </p:cNvPr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BD92E880-1396-40C1-BABA-580C5135FC71}" type="datetime1">
              <a:rPr lang="en-GB" sz="1000" smtClean="0"/>
              <a:t>05/10/2020</a:t>
            </a:fld>
            <a:endParaRPr lang="de-DE" sz="100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64017F7-B8F2-485E-BD67-C8971F3B553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 sz="1000" dirty="0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6594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66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87BC83A-8F3C-416E-B68A-7ABCCCE42F50}" type="slidenum">
              <a:rPr kumimoji="0" lang="sk-S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66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k-SK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75842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1775" y="977900"/>
            <a:ext cx="5473700" cy="3079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66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88046A6-66FB-4A17-ACEC-AC221BE1CD84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66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83251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1775" y="977900"/>
            <a:ext cx="5473700" cy="3079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rgbClr val="0A2864"/>
              </a:buClr>
              <a:buSzPct val="100000"/>
              <a:buFont typeface="Wingdings" panose="05000000000000000000" pitchFamily="2" charset="2"/>
              <a:buNone/>
            </a:pPr>
            <a:endParaRPr lang="de-DE" sz="12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66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5D0F127-F0D3-4218-9340-F65A621A5F7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66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48664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1775" y="977900"/>
            <a:ext cx="5473700" cy="3079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Clr>
                <a:srgbClr val="0A2864"/>
              </a:buClr>
              <a:buSzPct val="100000"/>
              <a:buFont typeface="Wingdings" panose="05000000000000000000" pitchFamily="2" charset="2"/>
              <a:buNone/>
            </a:pPr>
            <a:endParaRPr lang="de-DE" sz="12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66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5D0F127-F0D3-4218-9340-F65A621A5F7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66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02609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1775" y="977900"/>
            <a:ext cx="5473700" cy="3079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66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88046A6-66FB-4A17-ACEC-AC221BE1CD84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66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15002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8046A6-66FB-4A17-ACEC-AC221BE1CD84}" type="slidenum">
              <a:rPr lang="en-US" altLang="de-DE" smtClean="0"/>
              <a:pPr/>
              <a:t>9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4051255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31775" y="977900"/>
            <a:ext cx="5473700" cy="3079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662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88046A6-66FB-4A17-ACEC-AC221BE1CD84}" type="slidenum">
              <a:rPr kumimoji="0" lang="de-DE" alt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3662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altLang="de-D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800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w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w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| Ou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CF5D2771-759F-4439-B726-822DBC40CB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Group 21">
            <a:extLst>
              <a:ext uri="{FF2B5EF4-FFF2-40B4-BE49-F238E27FC236}">
                <a16:creationId xmlns:a16="http://schemas.microsoft.com/office/drawing/2014/main" id="{F42527CF-0C6A-45DF-AD03-6E0D04B1A71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690522" y="3284984"/>
            <a:ext cx="2810957" cy="1224136"/>
            <a:chOff x="10267265" y="5877328"/>
            <a:chExt cx="1157327" cy="504000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A1A31238-B5C0-42EC-99DC-88A758A15D2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30053" y="5992722"/>
              <a:ext cx="144242" cy="110303"/>
            </a:xfrm>
            <a:custGeom>
              <a:avLst/>
              <a:gdLst>
                <a:gd name="T0" fmla="*/ 1655 w 1957"/>
                <a:gd name="T1" fmla="*/ 1304 h 1513"/>
                <a:gd name="T2" fmla="*/ 1687 w 1957"/>
                <a:gd name="T3" fmla="*/ 1167 h 1513"/>
                <a:gd name="T4" fmla="*/ 1718 w 1957"/>
                <a:gd name="T5" fmla="*/ 1035 h 1513"/>
                <a:gd name="T6" fmla="*/ 1747 w 1957"/>
                <a:gd name="T7" fmla="*/ 908 h 1513"/>
                <a:gd name="T8" fmla="*/ 1775 w 1957"/>
                <a:gd name="T9" fmla="*/ 788 h 1513"/>
                <a:gd name="T10" fmla="*/ 1802 w 1957"/>
                <a:gd name="T11" fmla="*/ 673 h 1513"/>
                <a:gd name="T12" fmla="*/ 1827 w 1957"/>
                <a:gd name="T13" fmla="*/ 566 h 1513"/>
                <a:gd name="T14" fmla="*/ 1849 w 1957"/>
                <a:gd name="T15" fmla="*/ 467 h 1513"/>
                <a:gd name="T16" fmla="*/ 1871 w 1957"/>
                <a:gd name="T17" fmla="*/ 376 h 1513"/>
                <a:gd name="T18" fmla="*/ 1890 w 1957"/>
                <a:gd name="T19" fmla="*/ 293 h 1513"/>
                <a:gd name="T20" fmla="*/ 1907 w 1957"/>
                <a:gd name="T21" fmla="*/ 220 h 1513"/>
                <a:gd name="T22" fmla="*/ 1922 w 1957"/>
                <a:gd name="T23" fmla="*/ 157 h 1513"/>
                <a:gd name="T24" fmla="*/ 1934 w 1957"/>
                <a:gd name="T25" fmla="*/ 104 h 1513"/>
                <a:gd name="T26" fmla="*/ 1944 w 1957"/>
                <a:gd name="T27" fmla="*/ 62 h 1513"/>
                <a:gd name="T28" fmla="*/ 1951 w 1957"/>
                <a:gd name="T29" fmla="*/ 31 h 1513"/>
                <a:gd name="T30" fmla="*/ 1955 w 1957"/>
                <a:gd name="T31" fmla="*/ 12 h 1513"/>
                <a:gd name="T32" fmla="*/ 1957 w 1957"/>
                <a:gd name="T33" fmla="*/ 5 h 1513"/>
                <a:gd name="T34" fmla="*/ 345 w 1957"/>
                <a:gd name="T35" fmla="*/ 0 h 1513"/>
                <a:gd name="T36" fmla="*/ 344 w 1957"/>
                <a:gd name="T37" fmla="*/ 7 h 1513"/>
                <a:gd name="T38" fmla="*/ 339 w 1957"/>
                <a:gd name="T39" fmla="*/ 30 h 1513"/>
                <a:gd name="T40" fmla="*/ 331 w 1957"/>
                <a:gd name="T41" fmla="*/ 67 h 1513"/>
                <a:gd name="T42" fmla="*/ 320 w 1957"/>
                <a:gd name="T43" fmla="*/ 117 h 1513"/>
                <a:gd name="T44" fmla="*/ 305 w 1957"/>
                <a:gd name="T45" fmla="*/ 180 h 1513"/>
                <a:gd name="T46" fmla="*/ 288 w 1957"/>
                <a:gd name="T47" fmla="*/ 255 h 1513"/>
                <a:gd name="T48" fmla="*/ 268 w 1957"/>
                <a:gd name="T49" fmla="*/ 341 h 1513"/>
                <a:gd name="T50" fmla="*/ 246 w 1957"/>
                <a:gd name="T51" fmla="*/ 438 h 1513"/>
                <a:gd name="T52" fmla="*/ 221 w 1957"/>
                <a:gd name="T53" fmla="*/ 544 h 1513"/>
                <a:gd name="T54" fmla="*/ 194 w 1957"/>
                <a:gd name="T55" fmla="*/ 661 h 1513"/>
                <a:gd name="T56" fmla="*/ 166 w 1957"/>
                <a:gd name="T57" fmla="*/ 785 h 1513"/>
                <a:gd name="T58" fmla="*/ 135 w 1957"/>
                <a:gd name="T59" fmla="*/ 918 h 1513"/>
                <a:gd name="T60" fmla="*/ 103 w 1957"/>
                <a:gd name="T61" fmla="*/ 1058 h 1513"/>
                <a:gd name="T62" fmla="*/ 70 w 1957"/>
                <a:gd name="T63" fmla="*/ 1204 h 1513"/>
                <a:gd name="T64" fmla="*/ 35 w 1957"/>
                <a:gd name="T65" fmla="*/ 1356 h 1513"/>
                <a:gd name="T66" fmla="*/ 0 w 1957"/>
                <a:gd name="T67" fmla="*/ 1513 h 1513"/>
                <a:gd name="T68" fmla="*/ 94 w 1957"/>
                <a:gd name="T69" fmla="*/ 1499 h 1513"/>
                <a:gd name="T70" fmla="*/ 189 w 1957"/>
                <a:gd name="T71" fmla="*/ 1484 h 1513"/>
                <a:gd name="T72" fmla="*/ 286 w 1957"/>
                <a:gd name="T73" fmla="*/ 1471 h 1513"/>
                <a:gd name="T74" fmla="*/ 385 w 1957"/>
                <a:gd name="T75" fmla="*/ 1457 h 1513"/>
                <a:gd name="T76" fmla="*/ 484 w 1957"/>
                <a:gd name="T77" fmla="*/ 1444 h 1513"/>
                <a:gd name="T78" fmla="*/ 586 w 1957"/>
                <a:gd name="T79" fmla="*/ 1430 h 1513"/>
                <a:gd name="T80" fmla="*/ 688 w 1957"/>
                <a:gd name="T81" fmla="*/ 1417 h 1513"/>
                <a:gd name="T82" fmla="*/ 791 w 1957"/>
                <a:gd name="T83" fmla="*/ 1404 h 1513"/>
                <a:gd name="T84" fmla="*/ 895 w 1957"/>
                <a:gd name="T85" fmla="*/ 1391 h 1513"/>
                <a:gd name="T86" fmla="*/ 1001 w 1957"/>
                <a:gd name="T87" fmla="*/ 1378 h 1513"/>
                <a:gd name="T88" fmla="*/ 1107 w 1957"/>
                <a:gd name="T89" fmla="*/ 1365 h 1513"/>
                <a:gd name="T90" fmla="*/ 1215 w 1957"/>
                <a:gd name="T91" fmla="*/ 1353 h 1513"/>
                <a:gd name="T92" fmla="*/ 1324 w 1957"/>
                <a:gd name="T93" fmla="*/ 1341 h 1513"/>
                <a:gd name="T94" fmla="*/ 1433 w 1957"/>
                <a:gd name="T95" fmla="*/ 1328 h 1513"/>
                <a:gd name="T96" fmla="*/ 1543 w 1957"/>
                <a:gd name="T97" fmla="*/ 1317 h 1513"/>
                <a:gd name="T98" fmla="*/ 1655 w 1957"/>
                <a:gd name="T99" fmla="*/ 1304 h 1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7" h="1513">
                  <a:moveTo>
                    <a:pt x="1655" y="1304"/>
                  </a:moveTo>
                  <a:lnTo>
                    <a:pt x="1687" y="1167"/>
                  </a:lnTo>
                  <a:lnTo>
                    <a:pt x="1718" y="1035"/>
                  </a:lnTo>
                  <a:lnTo>
                    <a:pt x="1747" y="908"/>
                  </a:lnTo>
                  <a:lnTo>
                    <a:pt x="1775" y="788"/>
                  </a:lnTo>
                  <a:lnTo>
                    <a:pt x="1802" y="673"/>
                  </a:lnTo>
                  <a:lnTo>
                    <a:pt x="1827" y="566"/>
                  </a:lnTo>
                  <a:lnTo>
                    <a:pt x="1849" y="467"/>
                  </a:lnTo>
                  <a:lnTo>
                    <a:pt x="1871" y="376"/>
                  </a:lnTo>
                  <a:lnTo>
                    <a:pt x="1890" y="293"/>
                  </a:lnTo>
                  <a:lnTo>
                    <a:pt x="1907" y="220"/>
                  </a:lnTo>
                  <a:lnTo>
                    <a:pt x="1922" y="157"/>
                  </a:lnTo>
                  <a:lnTo>
                    <a:pt x="1934" y="104"/>
                  </a:lnTo>
                  <a:lnTo>
                    <a:pt x="1944" y="62"/>
                  </a:lnTo>
                  <a:lnTo>
                    <a:pt x="1951" y="31"/>
                  </a:lnTo>
                  <a:lnTo>
                    <a:pt x="1955" y="12"/>
                  </a:lnTo>
                  <a:lnTo>
                    <a:pt x="1957" y="5"/>
                  </a:lnTo>
                  <a:lnTo>
                    <a:pt x="345" y="0"/>
                  </a:lnTo>
                  <a:lnTo>
                    <a:pt x="344" y="7"/>
                  </a:lnTo>
                  <a:lnTo>
                    <a:pt x="339" y="30"/>
                  </a:lnTo>
                  <a:lnTo>
                    <a:pt x="331" y="67"/>
                  </a:lnTo>
                  <a:lnTo>
                    <a:pt x="320" y="117"/>
                  </a:lnTo>
                  <a:lnTo>
                    <a:pt x="305" y="180"/>
                  </a:lnTo>
                  <a:lnTo>
                    <a:pt x="288" y="255"/>
                  </a:lnTo>
                  <a:lnTo>
                    <a:pt x="268" y="341"/>
                  </a:lnTo>
                  <a:lnTo>
                    <a:pt x="246" y="438"/>
                  </a:lnTo>
                  <a:lnTo>
                    <a:pt x="221" y="544"/>
                  </a:lnTo>
                  <a:lnTo>
                    <a:pt x="194" y="661"/>
                  </a:lnTo>
                  <a:lnTo>
                    <a:pt x="166" y="785"/>
                  </a:lnTo>
                  <a:lnTo>
                    <a:pt x="135" y="918"/>
                  </a:lnTo>
                  <a:lnTo>
                    <a:pt x="103" y="1058"/>
                  </a:lnTo>
                  <a:lnTo>
                    <a:pt x="70" y="1204"/>
                  </a:lnTo>
                  <a:lnTo>
                    <a:pt x="35" y="1356"/>
                  </a:lnTo>
                  <a:lnTo>
                    <a:pt x="0" y="1513"/>
                  </a:lnTo>
                  <a:lnTo>
                    <a:pt x="94" y="1499"/>
                  </a:lnTo>
                  <a:lnTo>
                    <a:pt x="189" y="1484"/>
                  </a:lnTo>
                  <a:lnTo>
                    <a:pt x="286" y="1471"/>
                  </a:lnTo>
                  <a:lnTo>
                    <a:pt x="385" y="1457"/>
                  </a:lnTo>
                  <a:lnTo>
                    <a:pt x="484" y="1444"/>
                  </a:lnTo>
                  <a:lnTo>
                    <a:pt x="586" y="1430"/>
                  </a:lnTo>
                  <a:lnTo>
                    <a:pt x="688" y="1417"/>
                  </a:lnTo>
                  <a:lnTo>
                    <a:pt x="791" y="1404"/>
                  </a:lnTo>
                  <a:lnTo>
                    <a:pt x="895" y="1391"/>
                  </a:lnTo>
                  <a:lnTo>
                    <a:pt x="1001" y="1378"/>
                  </a:lnTo>
                  <a:lnTo>
                    <a:pt x="1107" y="1365"/>
                  </a:lnTo>
                  <a:lnTo>
                    <a:pt x="1215" y="1353"/>
                  </a:lnTo>
                  <a:lnTo>
                    <a:pt x="1324" y="1341"/>
                  </a:lnTo>
                  <a:lnTo>
                    <a:pt x="1433" y="1328"/>
                  </a:lnTo>
                  <a:lnTo>
                    <a:pt x="1543" y="1317"/>
                  </a:lnTo>
                  <a:lnTo>
                    <a:pt x="1655" y="1304"/>
                  </a:ln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8A4DB350-6291-4607-896B-61D0EA7FEE2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8415" y="5989328"/>
              <a:ext cx="263029" cy="91636"/>
            </a:xfrm>
            <a:custGeom>
              <a:avLst/>
              <a:gdLst>
                <a:gd name="T0" fmla="*/ 1166 w 3567"/>
                <a:gd name="T1" fmla="*/ 1148 h 1249"/>
                <a:gd name="T2" fmla="*/ 1360 w 3567"/>
                <a:gd name="T3" fmla="*/ 1136 h 1249"/>
                <a:gd name="T4" fmla="*/ 1590 w 3567"/>
                <a:gd name="T5" fmla="*/ 1125 h 1249"/>
                <a:gd name="T6" fmla="*/ 1852 w 3567"/>
                <a:gd name="T7" fmla="*/ 1114 h 1249"/>
                <a:gd name="T8" fmla="*/ 2143 w 3567"/>
                <a:gd name="T9" fmla="*/ 1104 h 1249"/>
                <a:gd name="T10" fmla="*/ 2461 w 3567"/>
                <a:gd name="T11" fmla="*/ 1095 h 1249"/>
                <a:gd name="T12" fmla="*/ 2803 w 3567"/>
                <a:gd name="T13" fmla="*/ 1085 h 1249"/>
                <a:gd name="T14" fmla="*/ 3166 w 3567"/>
                <a:gd name="T15" fmla="*/ 1077 h 1249"/>
                <a:gd name="T16" fmla="*/ 3372 w 3567"/>
                <a:gd name="T17" fmla="*/ 991 h 1249"/>
                <a:gd name="T18" fmla="*/ 3408 w 3567"/>
                <a:gd name="T19" fmla="*/ 822 h 1249"/>
                <a:gd name="T20" fmla="*/ 3444 w 3567"/>
                <a:gd name="T21" fmla="*/ 652 h 1249"/>
                <a:gd name="T22" fmla="*/ 3480 w 3567"/>
                <a:gd name="T23" fmla="*/ 490 h 1249"/>
                <a:gd name="T24" fmla="*/ 3510 w 3567"/>
                <a:gd name="T25" fmla="*/ 343 h 1249"/>
                <a:gd name="T26" fmla="*/ 3536 w 3567"/>
                <a:gd name="T27" fmla="*/ 220 h 1249"/>
                <a:gd name="T28" fmla="*/ 3555 w 3567"/>
                <a:gd name="T29" fmla="*/ 130 h 1249"/>
                <a:gd name="T30" fmla="*/ 3565 w 3567"/>
                <a:gd name="T31" fmla="*/ 82 h 1249"/>
                <a:gd name="T32" fmla="*/ 3561 w 3567"/>
                <a:gd name="T33" fmla="*/ 74 h 1249"/>
                <a:gd name="T34" fmla="*/ 3522 w 3567"/>
                <a:gd name="T35" fmla="*/ 66 h 1249"/>
                <a:gd name="T36" fmla="*/ 3441 w 3567"/>
                <a:gd name="T37" fmla="*/ 54 h 1249"/>
                <a:gd name="T38" fmla="*/ 3319 w 3567"/>
                <a:gd name="T39" fmla="*/ 38 h 1249"/>
                <a:gd name="T40" fmla="*/ 3155 w 3567"/>
                <a:gd name="T41" fmla="*/ 23 h 1249"/>
                <a:gd name="T42" fmla="*/ 2947 w 3567"/>
                <a:gd name="T43" fmla="*/ 10 h 1249"/>
                <a:gd name="T44" fmla="*/ 2695 w 3567"/>
                <a:gd name="T45" fmla="*/ 2 h 1249"/>
                <a:gd name="T46" fmla="*/ 2476 w 3567"/>
                <a:gd name="T47" fmla="*/ 0 h 1249"/>
                <a:gd name="T48" fmla="*/ 2315 w 3567"/>
                <a:gd name="T49" fmla="*/ 1 h 1249"/>
                <a:gd name="T50" fmla="*/ 2127 w 3567"/>
                <a:gd name="T51" fmla="*/ 7 h 1249"/>
                <a:gd name="T52" fmla="*/ 1923 w 3567"/>
                <a:gd name="T53" fmla="*/ 24 h 1249"/>
                <a:gd name="T54" fmla="*/ 1726 w 3567"/>
                <a:gd name="T55" fmla="*/ 52 h 1249"/>
                <a:gd name="T56" fmla="*/ 1538 w 3567"/>
                <a:gd name="T57" fmla="*/ 90 h 1249"/>
                <a:gd name="T58" fmla="*/ 1358 w 3567"/>
                <a:gd name="T59" fmla="*/ 138 h 1249"/>
                <a:gd name="T60" fmla="*/ 1186 w 3567"/>
                <a:gd name="T61" fmla="*/ 196 h 1249"/>
                <a:gd name="T62" fmla="*/ 1024 w 3567"/>
                <a:gd name="T63" fmla="*/ 262 h 1249"/>
                <a:gd name="T64" fmla="*/ 869 w 3567"/>
                <a:gd name="T65" fmla="*/ 338 h 1249"/>
                <a:gd name="T66" fmla="*/ 727 w 3567"/>
                <a:gd name="T67" fmla="*/ 421 h 1249"/>
                <a:gd name="T68" fmla="*/ 593 w 3567"/>
                <a:gd name="T69" fmla="*/ 511 h 1249"/>
                <a:gd name="T70" fmla="*/ 470 w 3567"/>
                <a:gd name="T71" fmla="*/ 609 h 1249"/>
                <a:gd name="T72" fmla="*/ 358 w 3567"/>
                <a:gd name="T73" fmla="*/ 714 h 1249"/>
                <a:gd name="T74" fmla="*/ 257 w 3567"/>
                <a:gd name="T75" fmla="*/ 824 h 1249"/>
                <a:gd name="T76" fmla="*/ 168 w 3567"/>
                <a:gd name="T77" fmla="*/ 939 h 1249"/>
                <a:gd name="T78" fmla="*/ 91 w 3567"/>
                <a:gd name="T79" fmla="*/ 1060 h 1249"/>
                <a:gd name="T80" fmla="*/ 27 w 3567"/>
                <a:gd name="T81" fmla="*/ 1185 h 1249"/>
                <a:gd name="T82" fmla="*/ 67 w 3567"/>
                <a:gd name="T83" fmla="*/ 1242 h 1249"/>
                <a:gd name="T84" fmla="*/ 201 w 3567"/>
                <a:gd name="T85" fmla="*/ 1231 h 1249"/>
                <a:gd name="T86" fmla="*/ 335 w 3567"/>
                <a:gd name="T87" fmla="*/ 1219 h 1249"/>
                <a:gd name="T88" fmla="*/ 471 w 3567"/>
                <a:gd name="T89" fmla="*/ 1206 h 1249"/>
                <a:gd name="T90" fmla="*/ 605 w 3567"/>
                <a:gd name="T91" fmla="*/ 1195 h 1249"/>
                <a:gd name="T92" fmla="*/ 742 w 3567"/>
                <a:gd name="T93" fmla="*/ 1182 h 1249"/>
                <a:gd name="T94" fmla="*/ 879 w 3567"/>
                <a:gd name="T95" fmla="*/ 1171 h 1249"/>
                <a:gd name="T96" fmla="*/ 1015 w 3567"/>
                <a:gd name="T97" fmla="*/ 1160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67" h="1249">
                  <a:moveTo>
                    <a:pt x="1084" y="1155"/>
                  </a:moveTo>
                  <a:lnTo>
                    <a:pt x="1166" y="1148"/>
                  </a:lnTo>
                  <a:lnTo>
                    <a:pt x="1259" y="1142"/>
                  </a:lnTo>
                  <a:lnTo>
                    <a:pt x="1360" y="1136"/>
                  </a:lnTo>
                  <a:lnTo>
                    <a:pt x="1471" y="1130"/>
                  </a:lnTo>
                  <a:lnTo>
                    <a:pt x="1590" y="1125"/>
                  </a:lnTo>
                  <a:lnTo>
                    <a:pt x="1717" y="1119"/>
                  </a:lnTo>
                  <a:lnTo>
                    <a:pt x="1852" y="1114"/>
                  </a:lnTo>
                  <a:lnTo>
                    <a:pt x="1994" y="1109"/>
                  </a:lnTo>
                  <a:lnTo>
                    <a:pt x="2143" y="1104"/>
                  </a:lnTo>
                  <a:lnTo>
                    <a:pt x="2299" y="1099"/>
                  </a:lnTo>
                  <a:lnTo>
                    <a:pt x="2461" y="1095"/>
                  </a:lnTo>
                  <a:lnTo>
                    <a:pt x="2630" y="1091"/>
                  </a:lnTo>
                  <a:lnTo>
                    <a:pt x="2803" y="1085"/>
                  </a:lnTo>
                  <a:lnTo>
                    <a:pt x="2982" y="1081"/>
                  </a:lnTo>
                  <a:lnTo>
                    <a:pt x="3166" y="1077"/>
                  </a:lnTo>
                  <a:lnTo>
                    <a:pt x="3354" y="1074"/>
                  </a:lnTo>
                  <a:lnTo>
                    <a:pt x="3372" y="991"/>
                  </a:lnTo>
                  <a:lnTo>
                    <a:pt x="3390" y="908"/>
                  </a:lnTo>
                  <a:lnTo>
                    <a:pt x="3408" y="822"/>
                  </a:lnTo>
                  <a:lnTo>
                    <a:pt x="3427" y="736"/>
                  </a:lnTo>
                  <a:lnTo>
                    <a:pt x="3444" y="652"/>
                  </a:lnTo>
                  <a:lnTo>
                    <a:pt x="3462" y="569"/>
                  </a:lnTo>
                  <a:lnTo>
                    <a:pt x="3480" y="490"/>
                  </a:lnTo>
                  <a:lnTo>
                    <a:pt x="3495" y="413"/>
                  </a:lnTo>
                  <a:lnTo>
                    <a:pt x="3510" y="343"/>
                  </a:lnTo>
                  <a:lnTo>
                    <a:pt x="3524" y="278"/>
                  </a:lnTo>
                  <a:lnTo>
                    <a:pt x="3536" y="220"/>
                  </a:lnTo>
                  <a:lnTo>
                    <a:pt x="3546" y="170"/>
                  </a:lnTo>
                  <a:lnTo>
                    <a:pt x="3555" y="130"/>
                  </a:lnTo>
                  <a:lnTo>
                    <a:pt x="3561" y="100"/>
                  </a:lnTo>
                  <a:lnTo>
                    <a:pt x="3565" y="82"/>
                  </a:lnTo>
                  <a:lnTo>
                    <a:pt x="3567" y="75"/>
                  </a:lnTo>
                  <a:lnTo>
                    <a:pt x="3561" y="74"/>
                  </a:lnTo>
                  <a:lnTo>
                    <a:pt x="3547" y="71"/>
                  </a:lnTo>
                  <a:lnTo>
                    <a:pt x="3522" y="66"/>
                  </a:lnTo>
                  <a:lnTo>
                    <a:pt x="3487" y="61"/>
                  </a:lnTo>
                  <a:lnTo>
                    <a:pt x="3441" y="54"/>
                  </a:lnTo>
                  <a:lnTo>
                    <a:pt x="3385" y="46"/>
                  </a:lnTo>
                  <a:lnTo>
                    <a:pt x="3319" y="38"/>
                  </a:lnTo>
                  <a:lnTo>
                    <a:pt x="3243" y="31"/>
                  </a:lnTo>
                  <a:lnTo>
                    <a:pt x="3155" y="23"/>
                  </a:lnTo>
                  <a:lnTo>
                    <a:pt x="3056" y="17"/>
                  </a:lnTo>
                  <a:lnTo>
                    <a:pt x="2947" y="10"/>
                  </a:lnTo>
                  <a:lnTo>
                    <a:pt x="2827" y="5"/>
                  </a:lnTo>
                  <a:lnTo>
                    <a:pt x="2695" y="2"/>
                  </a:lnTo>
                  <a:lnTo>
                    <a:pt x="2551" y="0"/>
                  </a:lnTo>
                  <a:lnTo>
                    <a:pt x="2476" y="0"/>
                  </a:lnTo>
                  <a:lnTo>
                    <a:pt x="2397" y="0"/>
                  </a:lnTo>
                  <a:lnTo>
                    <a:pt x="2315" y="1"/>
                  </a:lnTo>
                  <a:lnTo>
                    <a:pt x="2231" y="3"/>
                  </a:lnTo>
                  <a:lnTo>
                    <a:pt x="2127" y="7"/>
                  </a:lnTo>
                  <a:lnTo>
                    <a:pt x="2024" y="14"/>
                  </a:lnTo>
                  <a:lnTo>
                    <a:pt x="1923" y="24"/>
                  </a:lnTo>
                  <a:lnTo>
                    <a:pt x="1824" y="36"/>
                  </a:lnTo>
                  <a:lnTo>
                    <a:pt x="1726" y="52"/>
                  </a:lnTo>
                  <a:lnTo>
                    <a:pt x="1631" y="69"/>
                  </a:lnTo>
                  <a:lnTo>
                    <a:pt x="1538" y="90"/>
                  </a:lnTo>
                  <a:lnTo>
                    <a:pt x="1447" y="113"/>
                  </a:lnTo>
                  <a:lnTo>
                    <a:pt x="1358" y="138"/>
                  </a:lnTo>
                  <a:lnTo>
                    <a:pt x="1271" y="165"/>
                  </a:lnTo>
                  <a:lnTo>
                    <a:pt x="1186" y="196"/>
                  </a:lnTo>
                  <a:lnTo>
                    <a:pt x="1103" y="228"/>
                  </a:lnTo>
                  <a:lnTo>
                    <a:pt x="1024" y="262"/>
                  </a:lnTo>
                  <a:lnTo>
                    <a:pt x="945" y="299"/>
                  </a:lnTo>
                  <a:lnTo>
                    <a:pt x="869" y="338"/>
                  </a:lnTo>
                  <a:lnTo>
                    <a:pt x="797" y="378"/>
                  </a:lnTo>
                  <a:lnTo>
                    <a:pt x="727" y="421"/>
                  </a:lnTo>
                  <a:lnTo>
                    <a:pt x="658" y="466"/>
                  </a:lnTo>
                  <a:lnTo>
                    <a:pt x="593" y="511"/>
                  </a:lnTo>
                  <a:lnTo>
                    <a:pt x="530" y="560"/>
                  </a:lnTo>
                  <a:lnTo>
                    <a:pt x="470" y="609"/>
                  </a:lnTo>
                  <a:lnTo>
                    <a:pt x="412" y="661"/>
                  </a:lnTo>
                  <a:lnTo>
                    <a:pt x="358" y="714"/>
                  </a:lnTo>
                  <a:lnTo>
                    <a:pt x="306" y="767"/>
                  </a:lnTo>
                  <a:lnTo>
                    <a:pt x="257" y="824"/>
                  </a:lnTo>
                  <a:lnTo>
                    <a:pt x="211" y="881"/>
                  </a:lnTo>
                  <a:lnTo>
                    <a:pt x="168" y="939"/>
                  </a:lnTo>
                  <a:lnTo>
                    <a:pt x="128" y="999"/>
                  </a:lnTo>
                  <a:lnTo>
                    <a:pt x="91" y="1060"/>
                  </a:lnTo>
                  <a:lnTo>
                    <a:pt x="58" y="1122"/>
                  </a:lnTo>
                  <a:lnTo>
                    <a:pt x="27" y="1185"/>
                  </a:lnTo>
                  <a:lnTo>
                    <a:pt x="0" y="1249"/>
                  </a:lnTo>
                  <a:lnTo>
                    <a:pt x="67" y="1242"/>
                  </a:lnTo>
                  <a:lnTo>
                    <a:pt x="134" y="1236"/>
                  </a:lnTo>
                  <a:lnTo>
                    <a:pt x="201" y="1231"/>
                  </a:lnTo>
                  <a:lnTo>
                    <a:pt x="268" y="1225"/>
                  </a:lnTo>
                  <a:lnTo>
                    <a:pt x="335" y="1219"/>
                  </a:lnTo>
                  <a:lnTo>
                    <a:pt x="403" y="1212"/>
                  </a:lnTo>
                  <a:lnTo>
                    <a:pt x="471" y="1206"/>
                  </a:lnTo>
                  <a:lnTo>
                    <a:pt x="538" y="1201"/>
                  </a:lnTo>
                  <a:lnTo>
                    <a:pt x="605" y="1195"/>
                  </a:lnTo>
                  <a:lnTo>
                    <a:pt x="674" y="1189"/>
                  </a:lnTo>
                  <a:lnTo>
                    <a:pt x="742" y="1182"/>
                  </a:lnTo>
                  <a:lnTo>
                    <a:pt x="810" y="1177"/>
                  </a:lnTo>
                  <a:lnTo>
                    <a:pt x="879" y="1171"/>
                  </a:lnTo>
                  <a:lnTo>
                    <a:pt x="946" y="1166"/>
                  </a:lnTo>
                  <a:lnTo>
                    <a:pt x="1015" y="1160"/>
                  </a:lnTo>
                  <a:lnTo>
                    <a:pt x="1084" y="1155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764E64D-E536-4F9B-AF59-C7ECC105E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9322" y="5877328"/>
              <a:ext cx="212120" cy="190061"/>
            </a:xfrm>
            <a:custGeom>
              <a:avLst/>
              <a:gdLst>
                <a:gd name="T0" fmla="*/ 2646 w 2867"/>
                <a:gd name="T1" fmla="*/ 2542 h 2571"/>
                <a:gd name="T2" fmla="*/ 2867 w 2867"/>
                <a:gd name="T3" fmla="*/ 1557 h 2571"/>
                <a:gd name="T4" fmla="*/ 1877 w 2867"/>
                <a:gd name="T5" fmla="*/ 1557 h 2571"/>
                <a:gd name="T6" fmla="*/ 1920 w 2867"/>
                <a:gd name="T7" fmla="*/ 1361 h 2571"/>
                <a:gd name="T8" fmla="*/ 1960 w 2867"/>
                <a:gd name="T9" fmla="*/ 1182 h 2571"/>
                <a:gd name="T10" fmla="*/ 1996 w 2867"/>
                <a:gd name="T11" fmla="*/ 1019 h 2571"/>
                <a:gd name="T12" fmla="*/ 2029 w 2867"/>
                <a:gd name="T13" fmla="*/ 872 h 2571"/>
                <a:gd name="T14" fmla="*/ 2060 w 2867"/>
                <a:gd name="T15" fmla="*/ 739 h 2571"/>
                <a:gd name="T16" fmla="*/ 2087 w 2867"/>
                <a:gd name="T17" fmla="*/ 621 h 2571"/>
                <a:gd name="T18" fmla="*/ 2111 w 2867"/>
                <a:gd name="T19" fmla="*/ 514 h 2571"/>
                <a:gd name="T20" fmla="*/ 2133 w 2867"/>
                <a:gd name="T21" fmla="*/ 420 h 2571"/>
                <a:gd name="T22" fmla="*/ 2152 w 2867"/>
                <a:gd name="T23" fmla="*/ 338 h 2571"/>
                <a:gd name="T24" fmla="*/ 2169 w 2867"/>
                <a:gd name="T25" fmla="*/ 264 h 2571"/>
                <a:gd name="T26" fmla="*/ 2183 w 2867"/>
                <a:gd name="T27" fmla="*/ 201 h 2571"/>
                <a:gd name="T28" fmla="*/ 2196 w 2867"/>
                <a:gd name="T29" fmla="*/ 148 h 2571"/>
                <a:gd name="T30" fmla="*/ 2206 w 2867"/>
                <a:gd name="T31" fmla="*/ 101 h 2571"/>
                <a:gd name="T32" fmla="*/ 2215 w 2867"/>
                <a:gd name="T33" fmla="*/ 62 h 2571"/>
                <a:gd name="T34" fmla="*/ 2222 w 2867"/>
                <a:gd name="T35" fmla="*/ 28 h 2571"/>
                <a:gd name="T36" fmla="*/ 2228 w 2867"/>
                <a:gd name="T37" fmla="*/ 0 h 2571"/>
                <a:gd name="T38" fmla="*/ 512 w 2867"/>
                <a:gd name="T39" fmla="*/ 331 h 2571"/>
                <a:gd name="T40" fmla="*/ 509 w 2867"/>
                <a:gd name="T41" fmla="*/ 343 h 2571"/>
                <a:gd name="T42" fmla="*/ 501 w 2867"/>
                <a:gd name="T43" fmla="*/ 375 h 2571"/>
                <a:gd name="T44" fmla="*/ 490 w 2867"/>
                <a:gd name="T45" fmla="*/ 428 h 2571"/>
                <a:gd name="T46" fmla="*/ 473 w 2867"/>
                <a:gd name="T47" fmla="*/ 501 h 2571"/>
                <a:gd name="T48" fmla="*/ 453 w 2867"/>
                <a:gd name="T49" fmla="*/ 592 h 2571"/>
                <a:gd name="T50" fmla="*/ 428 w 2867"/>
                <a:gd name="T51" fmla="*/ 700 h 2571"/>
                <a:gd name="T52" fmla="*/ 399 w 2867"/>
                <a:gd name="T53" fmla="*/ 826 h 2571"/>
                <a:gd name="T54" fmla="*/ 367 w 2867"/>
                <a:gd name="T55" fmla="*/ 968 h 2571"/>
                <a:gd name="T56" fmla="*/ 331 w 2867"/>
                <a:gd name="T57" fmla="*/ 1125 h 2571"/>
                <a:gd name="T58" fmla="*/ 291 w 2867"/>
                <a:gd name="T59" fmla="*/ 1296 h 2571"/>
                <a:gd name="T60" fmla="*/ 250 w 2867"/>
                <a:gd name="T61" fmla="*/ 1481 h 2571"/>
                <a:gd name="T62" fmla="*/ 204 w 2867"/>
                <a:gd name="T63" fmla="*/ 1677 h 2571"/>
                <a:gd name="T64" fmla="*/ 157 w 2867"/>
                <a:gd name="T65" fmla="*/ 1886 h 2571"/>
                <a:gd name="T66" fmla="*/ 107 w 2867"/>
                <a:gd name="T67" fmla="*/ 2105 h 2571"/>
                <a:gd name="T68" fmla="*/ 54 w 2867"/>
                <a:gd name="T69" fmla="*/ 2334 h 2571"/>
                <a:gd name="T70" fmla="*/ 0 w 2867"/>
                <a:gd name="T71" fmla="*/ 2571 h 2571"/>
                <a:gd name="T72" fmla="*/ 164 w 2867"/>
                <a:gd name="T73" fmla="*/ 2569 h 2571"/>
                <a:gd name="T74" fmla="*/ 328 w 2867"/>
                <a:gd name="T75" fmla="*/ 2566 h 2571"/>
                <a:gd name="T76" fmla="*/ 493 w 2867"/>
                <a:gd name="T77" fmla="*/ 2564 h 2571"/>
                <a:gd name="T78" fmla="*/ 660 w 2867"/>
                <a:gd name="T79" fmla="*/ 2562 h 2571"/>
                <a:gd name="T80" fmla="*/ 826 w 2867"/>
                <a:gd name="T81" fmla="*/ 2560 h 2571"/>
                <a:gd name="T82" fmla="*/ 993 w 2867"/>
                <a:gd name="T83" fmla="*/ 2558 h 2571"/>
                <a:gd name="T84" fmla="*/ 1161 w 2867"/>
                <a:gd name="T85" fmla="*/ 2556 h 2571"/>
                <a:gd name="T86" fmla="*/ 1327 w 2867"/>
                <a:gd name="T87" fmla="*/ 2555 h 2571"/>
                <a:gd name="T88" fmla="*/ 1495 w 2867"/>
                <a:gd name="T89" fmla="*/ 2553 h 2571"/>
                <a:gd name="T90" fmla="*/ 1662 w 2867"/>
                <a:gd name="T91" fmla="*/ 2551 h 2571"/>
                <a:gd name="T92" fmla="*/ 1828 w 2867"/>
                <a:gd name="T93" fmla="*/ 2550 h 2571"/>
                <a:gd name="T94" fmla="*/ 1994 w 2867"/>
                <a:gd name="T95" fmla="*/ 2548 h 2571"/>
                <a:gd name="T96" fmla="*/ 2158 w 2867"/>
                <a:gd name="T97" fmla="*/ 2547 h 2571"/>
                <a:gd name="T98" fmla="*/ 2322 w 2867"/>
                <a:gd name="T99" fmla="*/ 2545 h 2571"/>
                <a:gd name="T100" fmla="*/ 2484 w 2867"/>
                <a:gd name="T101" fmla="*/ 2544 h 2571"/>
                <a:gd name="T102" fmla="*/ 2646 w 2867"/>
                <a:gd name="T103" fmla="*/ 2542 h 2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67" h="2571">
                  <a:moveTo>
                    <a:pt x="2646" y="2542"/>
                  </a:moveTo>
                  <a:lnTo>
                    <a:pt x="2867" y="1557"/>
                  </a:lnTo>
                  <a:lnTo>
                    <a:pt x="1877" y="1557"/>
                  </a:lnTo>
                  <a:lnTo>
                    <a:pt x="1920" y="1361"/>
                  </a:lnTo>
                  <a:lnTo>
                    <a:pt x="1960" y="1182"/>
                  </a:lnTo>
                  <a:lnTo>
                    <a:pt x="1996" y="1019"/>
                  </a:lnTo>
                  <a:lnTo>
                    <a:pt x="2029" y="872"/>
                  </a:lnTo>
                  <a:lnTo>
                    <a:pt x="2060" y="739"/>
                  </a:lnTo>
                  <a:lnTo>
                    <a:pt x="2087" y="621"/>
                  </a:lnTo>
                  <a:lnTo>
                    <a:pt x="2111" y="514"/>
                  </a:lnTo>
                  <a:lnTo>
                    <a:pt x="2133" y="420"/>
                  </a:lnTo>
                  <a:lnTo>
                    <a:pt x="2152" y="338"/>
                  </a:lnTo>
                  <a:lnTo>
                    <a:pt x="2169" y="264"/>
                  </a:lnTo>
                  <a:lnTo>
                    <a:pt x="2183" y="201"/>
                  </a:lnTo>
                  <a:lnTo>
                    <a:pt x="2196" y="148"/>
                  </a:lnTo>
                  <a:lnTo>
                    <a:pt x="2206" y="101"/>
                  </a:lnTo>
                  <a:lnTo>
                    <a:pt x="2215" y="62"/>
                  </a:lnTo>
                  <a:lnTo>
                    <a:pt x="2222" y="28"/>
                  </a:lnTo>
                  <a:lnTo>
                    <a:pt x="2228" y="0"/>
                  </a:lnTo>
                  <a:lnTo>
                    <a:pt x="512" y="331"/>
                  </a:lnTo>
                  <a:lnTo>
                    <a:pt x="509" y="343"/>
                  </a:lnTo>
                  <a:lnTo>
                    <a:pt x="501" y="375"/>
                  </a:lnTo>
                  <a:lnTo>
                    <a:pt x="490" y="428"/>
                  </a:lnTo>
                  <a:lnTo>
                    <a:pt x="473" y="501"/>
                  </a:lnTo>
                  <a:lnTo>
                    <a:pt x="453" y="592"/>
                  </a:lnTo>
                  <a:lnTo>
                    <a:pt x="428" y="700"/>
                  </a:lnTo>
                  <a:lnTo>
                    <a:pt x="399" y="826"/>
                  </a:lnTo>
                  <a:lnTo>
                    <a:pt x="367" y="968"/>
                  </a:lnTo>
                  <a:lnTo>
                    <a:pt x="331" y="1125"/>
                  </a:lnTo>
                  <a:lnTo>
                    <a:pt x="291" y="1296"/>
                  </a:lnTo>
                  <a:lnTo>
                    <a:pt x="250" y="1481"/>
                  </a:lnTo>
                  <a:lnTo>
                    <a:pt x="204" y="1677"/>
                  </a:lnTo>
                  <a:lnTo>
                    <a:pt x="157" y="1886"/>
                  </a:lnTo>
                  <a:lnTo>
                    <a:pt x="107" y="2105"/>
                  </a:lnTo>
                  <a:lnTo>
                    <a:pt x="54" y="2334"/>
                  </a:lnTo>
                  <a:lnTo>
                    <a:pt x="0" y="2571"/>
                  </a:lnTo>
                  <a:lnTo>
                    <a:pt x="164" y="2569"/>
                  </a:lnTo>
                  <a:lnTo>
                    <a:pt x="328" y="2566"/>
                  </a:lnTo>
                  <a:lnTo>
                    <a:pt x="493" y="2564"/>
                  </a:lnTo>
                  <a:lnTo>
                    <a:pt x="660" y="2562"/>
                  </a:lnTo>
                  <a:lnTo>
                    <a:pt x="826" y="2560"/>
                  </a:lnTo>
                  <a:lnTo>
                    <a:pt x="993" y="2558"/>
                  </a:lnTo>
                  <a:lnTo>
                    <a:pt x="1161" y="2556"/>
                  </a:lnTo>
                  <a:lnTo>
                    <a:pt x="1327" y="2555"/>
                  </a:lnTo>
                  <a:lnTo>
                    <a:pt x="1495" y="2553"/>
                  </a:lnTo>
                  <a:lnTo>
                    <a:pt x="1662" y="2551"/>
                  </a:lnTo>
                  <a:lnTo>
                    <a:pt x="1828" y="2550"/>
                  </a:lnTo>
                  <a:lnTo>
                    <a:pt x="1994" y="2548"/>
                  </a:lnTo>
                  <a:lnTo>
                    <a:pt x="2158" y="2547"/>
                  </a:lnTo>
                  <a:lnTo>
                    <a:pt x="2322" y="2545"/>
                  </a:lnTo>
                  <a:lnTo>
                    <a:pt x="2484" y="2544"/>
                  </a:lnTo>
                  <a:lnTo>
                    <a:pt x="2646" y="2542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D7FB429C-5280-4DCB-B6EB-BBA79BDFB2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67265" y="6159025"/>
              <a:ext cx="167999" cy="217212"/>
            </a:xfrm>
            <a:custGeom>
              <a:avLst/>
              <a:gdLst>
                <a:gd name="T0" fmla="*/ 555 w 2278"/>
                <a:gd name="T1" fmla="*/ 526 h 2940"/>
                <a:gd name="T2" fmla="*/ 504 w 2278"/>
                <a:gd name="T3" fmla="*/ 746 h 2940"/>
                <a:gd name="T4" fmla="*/ 454 w 2278"/>
                <a:gd name="T5" fmla="*/ 964 h 2940"/>
                <a:gd name="T6" fmla="*/ 405 w 2278"/>
                <a:gd name="T7" fmla="*/ 1179 h 2940"/>
                <a:gd name="T8" fmla="*/ 356 w 2278"/>
                <a:gd name="T9" fmla="*/ 1391 h 2940"/>
                <a:gd name="T10" fmla="*/ 310 w 2278"/>
                <a:gd name="T11" fmla="*/ 1595 h 2940"/>
                <a:gd name="T12" fmla="*/ 264 w 2278"/>
                <a:gd name="T13" fmla="*/ 1792 h 2940"/>
                <a:gd name="T14" fmla="*/ 222 w 2278"/>
                <a:gd name="T15" fmla="*/ 1978 h 2940"/>
                <a:gd name="T16" fmla="*/ 181 w 2278"/>
                <a:gd name="T17" fmla="*/ 2153 h 2940"/>
                <a:gd name="T18" fmla="*/ 144 w 2278"/>
                <a:gd name="T19" fmla="*/ 2315 h 2940"/>
                <a:gd name="T20" fmla="*/ 110 w 2278"/>
                <a:gd name="T21" fmla="*/ 2462 h 2940"/>
                <a:gd name="T22" fmla="*/ 80 w 2278"/>
                <a:gd name="T23" fmla="*/ 2593 h 2940"/>
                <a:gd name="T24" fmla="*/ 54 w 2278"/>
                <a:gd name="T25" fmla="*/ 2705 h 2940"/>
                <a:gd name="T26" fmla="*/ 32 w 2278"/>
                <a:gd name="T27" fmla="*/ 2798 h 2940"/>
                <a:gd name="T28" fmla="*/ 17 w 2278"/>
                <a:gd name="T29" fmla="*/ 2869 h 2940"/>
                <a:gd name="T30" fmla="*/ 5 w 2278"/>
                <a:gd name="T31" fmla="*/ 2917 h 2940"/>
                <a:gd name="T32" fmla="*/ 0 w 2278"/>
                <a:gd name="T33" fmla="*/ 2940 h 2940"/>
                <a:gd name="T34" fmla="*/ 1589 w 2278"/>
                <a:gd name="T35" fmla="*/ 2940 h 2940"/>
                <a:gd name="T36" fmla="*/ 1594 w 2278"/>
                <a:gd name="T37" fmla="*/ 2918 h 2940"/>
                <a:gd name="T38" fmla="*/ 1606 w 2278"/>
                <a:gd name="T39" fmla="*/ 2864 h 2940"/>
                <a:gd name="T40" fmla="*/ 1627 w 2278"/>
                <a:gd name="T41" fmla="*/ 2778 h 2940"/>
                <a:gd name="T42" fmla="*/ 1654 w 2278"/>
                <a:gd name="T43" fmla="*/ 2663 h 2940"/>
                <a:gd name="T44" fmla="*/ 1687 w 2278"/>
                <a:gd name="T45" fmla="*/ 2524 h 2940"/>
                <a:gd name="T46" fmla="*/ 1725 w 2278"/>
                <a:gd name="T47" fmla="*/ 2361 h 2940"/>
                <a:gd name="T48" fmla="*/ 1769 w 2278"/>
                <a:gd name="T49" fmla="*/ 2176 h 2940"/>
                <a:gd name="T50" fmla="*/ 1817 w 2278"/>
                <a:gd name="T51" fmla="*/ 1974 h 2940"/>
                <a:gd name="T52" fmla="*/ 1867 w 2278"/>
                <a:gd name="T53" fmla="*/ 1756 h 2940"/>
                <a:gd name="T54" fmla="*/ 1922 w 2278"/>
                <a:gd name="T55" fmla="*/ 1524 h 2940"/>
                <a:gd name="T56" fmla="*/ 1979 w 2278"/>
                <a:gd name="T57" fmla="*/ 1283 h 2940"/>
                <a:gd name="T58" fmla="*/ 2037 w 2278"/>
                <a:gd name="T59" fmla="*/ 1033 h 2940"/>
                <a:gd name="T60" fmla="*/ 2097 w 2278"/>
                <a:gd name="T61" fmla="*/ 777 h 2940"/>
                <a:gd name="T62" fmla="*/ 2157 w 2278"/>
                <a:gd name="T63" fmla="*/ 517 h 2940"/>
                <a:gd name="T64" fmla="*/ 2218 w 2278"/>
                <a:gd name="T65" fmla="*/ 257 h 2940"/>
                <a:gd name="T66" fmla="*/ 2278 w 2278"/>
                <a:gd name="T67" fmla="*/ 0 h 2940"/>
                <a:gd name="T68" fmla="*/ 2146 w 2278"/>
                <a:gd name="T69" fmla="*/ 33 h 2940"/>
                <a:gd name="T70" fmla="*/ 2016 w 2278"/>
                <a:gd name="T71" fmla="*/ 67 h 2940"/>
                <a:gd name="T72" fmla="*/ 1891 w 2278"/>
                <a:gd name="T73" fmla="*/ 100 h 2940"/>
                <a:gd name="T74" fmla="*/ 1769 w 2278"/>
                <a:gd name="T75" fmla="*/ 134 h 2940"/>
                <a:gd name="T76" fmla="*/ 1650 w 2278"/>
                <a:gd name="T77" fmla="*/ 167 h 2940"/>
                <a:gd name="T78" fmla="*/ 1534 w 2278"/>
                <a:gd name="T79" fmla="*/ 201 h 2940"/>
                <a:gd name="T80" fmla="*/ 1422 w 2278"/>
                <a:gd name="T81" fmla="*/ 234 h 2940"/>
                <a:gd name="T82" fmla="*/ 1313 w 2278"/>
                <a:gd name="T83" fmla="*/ 267 h 2940"/>
                <a:gd name="T84" fmla="*/ 1207 w 2278"/>
                <a:gd name="T85" fmla="*/ 300 h 2940"/>
                <a:gd name="T86" fmla="*/ 1104 w 2278"/>
                <a:gd name="T87" fmla="*/ 333 h 2940"/>
                <a:gd name="T88" fmla="*/ 1005 w 2278"/>
                <a:gd name="T89" fmla="*/ 367 h 2940"/>
                <a:gd name="T90" fmla="*/ 909 w 2278"/>
                <a:gd name="T91" fmla="*/ 399 h 2940"/>
                <a:gd name="T92" fmla="*/ 816 w 2278"/>
                <a:gd name="T93" fmla="*/ 431 h 2940"/>
                <a:gd name="T94" fmla="*/ 726 w 2278"/>
                <a:gd name="T95" fmla="*/ 463 h 2940"/>
                <a:gd name="T96" fmla="*/ 639 w 2278"/>
                <a:gd name="T97" fmla="*/ 495 h 2940"/>
                <a:gd name="T98" fmla="*/ 555 w 2278"/>
                <a:gd name="T99" fmla="*/ 526 h 2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78" h="2940">
                  <a:moveTo>
                    <a:pt x="555" y="526"/>
                  </a:moveTo>
                  <a:lnTo>
                    <a:pt x="504" y="746"/>
                  </a:lnTo>
                  <a:lnTo>
                    <a:pt x="454" y="964"/>
                  </a:lnTo>
                  <a:lnTo>
                    <a:pt x="405" y="1179"/>
                  </a:lnTo>
                  <a:lnTo>
                    <a:pt x="356" y="1391"/>
                  </a:lnTo>
                  <a:lnTo>
                    <a:pt x="310" y="1595"/>
                  </a:lnTo>
                  <a:lnTo>
                    <a:pt x="264" y="1792"/>
                  </a:lnTo>
                  <a:lnTo>
                    <a:pt x="222" y="1978"/>
                  </a:lnTo>
                  <a:lnTo>
                    <a:pt x="181" y="2153"/>
                  </a:lnTo>
                  <a:lnTo>
                    <a:pt x="144" y="2315"/>
                  </a:lnTo>
                  <a:lnTo>
                    <a:pt x="110" y="2462"/>
                  </a:lnTo>
                  <a:lnTo>
                    <a:pt x="80" y="2593"/>
                  </a:lnTo>
                  <a:lnTo>
                    <a:pt x="54" y="2705"/>
                  </a:lnTo>
                  <a:lnTo>
                    <a:pt x="32" y="2798"/>
                  </a:lnTo>
                  <a:lnTo>
                    <a:pt x="17" y="2869"/>
                  </a:lnTo>
                  <a:lnTo>
                    <a:pt x="5" y="2917"/>
                  </a:lnTo>
                  <a:lnTo>
                    <a:pt x="0" y="2940"/>
                  </a:lnTo>
                  <a:lnTo>
                    <a:pt x="1589" y="2940"/>
                  </a:lnTo>
                  <a:lnTo>
                    <a:pt x="1594" y="2918"/>
                  </a:lnTo>
                  <a:lnTo>
                    <a:pt x="1606" y="2864"/>
                  </a:lnTo>
                  <a:lnTo>
                    <a:pt x="1627" y="2778"/>
                  </a:lnTo>
                  <a:lnTo>
                    <a:pt x="1654" y="2663"/>
                  </a:lnTo>
                  <a:lnTo>
                    <a:pt x="1687" y="2524"/>
                  </a:lnTo>
                  <a:lnTo>
                    <a:pt x="1725" y="2361"/>
                  </a:lnTo>
                  <a:lnTo>
                    <a:pt x="1769" y="2176"/>
                  </a:lnTo>
                  <a:lnTo>
                    <a:pt x="1817" y="1974"/>
                  </a:lnTo>
                  <a:lnTo>
                    <a:pt x="1867" y="1756"/>
                  </a:lnTo>
                  <a:lnTo>
                    <a:pt x="1922" y="1524"/>
                  </a:lnTo>
                  <a:lnTo>
                    <a:pt x="1979" y="1283"/>
                  </a:lnTo>
                  <a:lnTo>
                    <a:pt x="2037" y="1033"/>
                  </a:lnTo>
                  <a:lnTo>
                    <a:pt x="2097" y="777"/>
                  </a:lnTo>
                  <a:lnTo>
                    <a:pt x="2157" y="517"/>
                  </a:lnTo>
                  <a:lnTo>
                    <a:pt x="2218" y="257"/>
                  </a:lnTo>
                  <a:lnTo>
                    <a:pt x="2278" y="0"/>
                  </a:lnTo>
                  <a:lnTo>
                    <a:pt x="2146" y="33"/>
                  </a:lnTo>
                  <a:lnTo>
                    <a:pt x="2016" y="67"/>
                  </a:lnTo>
                  <a:lnTo>
                    <a:pt x="1891" y="100"/>
                  </a:lnTo>
                  <a:lnTo>
                    <a:pt x="1769" y="134"/>
                  </a:lnTo>
                  <a:lnTo>
                    <a:pt x="1650" y="167"/>
                  </a:lnTo>
                  <a:lnTo>
                    <a:pt x="1534" y="201"/>
                  </a:lnTo>
                  <a:lnTo>
                    <a:pt x="1422" y="234"/>
                  </a:lnTo>
                  <a:lnTo>
                    <a:pt x="1313" y="267"/>
                  </a:lnTo>
                  <a:lnTo>
                    <a:pt x="1207" y="300"/>
                  </a:lnTo>
                  <a:lnTo>
                    <a:pt x="1104" y="333"/>
                  </a:lnTo>
                  <a:lnTo>
                    <a:pt x="1005" y="367"/>
                  </a:lnTo>
                  <a:lnTo>
                    <a:pt x="909" y="399"/>
                  </a:lnTo>
                  <a:lnTo>
                    <a:pt x="816" y="431"/>
                  </a:lnTo>
                  <a:lnTo>
                    <a:pt x="726" y="463"/>
                  </a:lnTo>
                  <a:lnTo>
                    <a:pt x="639" y="495"/>
                  </a:lnTo>
                  <a:lnTo>
                    <a:pt x="555" y="52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1C71175-872A-4DAB-B7CB-87114BEC6AD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49564" y="5991025"/>
              <a:ext cx="375028" cy="390303"/>
            </a:xfrm>
            <a:custGeom>
              <a:avLst/>
              <a:gdLst>
                <a:gd name="T0" fmla="*/ 4466 w 5066"/>
                <a:gd name="T1" fmla="*/ 34 h 5294"/>
                <a:gd name="T2" fmla="*/ 3678 w 5066"/>
                <a:gd name="T3" fmla="*/ 3 h 5294"/>
                <a:gd name="T4" fmla="*/ 2963 w 5066"/>
                <a:gd name="T5" fmla="*/ 8 h 5294"/>
                <a:gd name="T6" fmla="*/ 2456 w 5066"/>
                <a:gd name="T7" fmla="*/ 64 h 5294"/>
                <a:gd name="T8" fmla="*/ 1996 w 5066"/>
                <a:gd name="T9" fmla="*/ 183 h 5294"/>
                <a:gd name="T10" fmla="*/ 1582 w 5066"/>
                <a:gd name="T11" fmla="*/ 368 h 5294"/>
                <a:gd name="T12" fmla="*/ 1216 w 5066"/>
                <a:gd name="T13" fmla="*/ 622 h 5294"/>
                <a:gd name="T14" fmla="*/ 895 w 5066"/>
                <a:gd name="T15" fmla="*/ 947 h 5294"/>
                <a:gd name="T16" fmla="*/ 2051 w 5066"/>
                <a:gd name="T17" fmla="*/ 1001 h 5294"/>
                <a:gd name="T18" fmla="*/ 3037 w 5066"/>
                <a:gd name="T19" fmla="*/ 998 h 5294"/>
                <a:gd name="T20" fmla="*/ 3293 w 5066"/>
                <a:gd name="T21" fmla="*/ 1144 h 5294"/>
                <a:gd name="T22" fmla="*/ 3058 w 5066"/>
                <a:gd name="T23" fmla="*/ 2155 h 5294"/>
                <a:gd name="T24" fmla="*/ 2848 w 5066"/>
                <a:gd name="T25" fmla="*/ 3110 h 5294"/>
                <a:gd name="T26" fmla="*/ 2785 w 5066"/>
                <a:gd name="T27" fmla="*/ 3421 h 5294"/>
                <a:gd name="T28" fmla="*/ 2624 w 5066"/>
                <a:gd name="T29" fmla="*/ 3638 h 5294"/>
                <a:gd name="T30" fmla="*/ 2496 w 5066"/>
                <a:gd name="T31" fmla="*/ 3760 h 5294"/>
                <a:gd name="T32" fmla="*/ 2340 w 5066"/>
                <a:gd name="T33" fmla="*/ 3861 h 5294"/>
                <a:gd name="T34" fmla="*/ 2151 w 5066"/>
                <a:gd name="T35" fmla="*/ 3924 h 5294"/>
                <a:gd name="T36" fmla="*/ 1941 w 5066"/>
                <a:gd name="T37" fmla="*/ 3933 h 5294"/>
                <a:gd name="T38" fmla="*/ 1787 w 5066"/>
                <a:gd name="T39" fmla="*/ 3881 h 5294"/>
                <a:gd name="T40" fmla="*/ 1688 w 5066"/>
                <a:gd name="T41" fmla="*/ 3781 h 5294"/>
                <a:gd name="T42" fmla="*/ 1631 w 5066"/>
                <a:gd name="T43" fmla="*/ 3646 h 5294"/>
                <a:gd name="T44" fmla="*/ 1606 w 5066"/>
                <a:gd name="T45" fmla="*/ 3488 h 5294"/>
                <a:gd name="T46" fmla="*/ 1611 w 5066"/>
                <a:gd name="T47" fmla="*/ 3188 h 5294"/>
                <a:gd name="T48" fmla="*/ 1659 w 5066"/>
                <a:gd name="T49" fmla="*/ 2763 h 5294"/>
                <a:gd name="T50" fmla="*/ 1748 w 5066"/>
                <a:gd name="T51" fmla="*/ 2329 h 5294"/>
                <a:gd name="T52" fmla="*/ 1879 w 5066"/>
                <a:gd name="T53" fmla="*/ 1919 h 5294"/>
                <a:gd name="T54" fmla="*/ 2053 w 5066"/>
                <a:gd name="T55" fmla="*/ 1564 h 5294"/>
                <a:gd name="T56" fmla="*/ 2272 w 5066"/>
                <a:gd name="T57" fmla="*/ 1295 h 5294"/>
                <a:gd name="T58" fmla="*/ 1725 w 5066"/>
                <a:gd name="T59" fmla="*/ 1309 h 5294"/>
                <a:gd name="T60" fmla="*/ 1087 w 5066"/>
                <a:gd name="T61" fmla="*/ 1326 h 5294"/>
                <a:gd name="T62" fmla="*/ 556 w 5066"/>
                <a:gd name="T63" fmla="*/ 1456 h 5294"/>
                <a:gd name="T64" fmla="*/ 378 w 5066"/>
                <a:gd name="T65" fmla="*/ 1828 h 5294"/>
                <a:gd name="T66" fmla="*/ 230 w 5066"/>
                <a:gd name="T67" fmla="*/ 2231 h 5294"/>
                <a:gd name="T68" fmla="*/ 117 w 5066"/>
                <a:gd name="T69" fmla="*/ 2662 h 5294"/>
                <a:gd name="T70" fmla="*/ 39 w 5066"/>
                <a:gd name="T71" fmla="*/ 3114 h 5294"/>
                <a:gd name="T72" fmla="*/ 1 w 5066"/>
                <a:gd name="T73" fmla="*/ 3582 h 5294"/>
                <a:gd name="T74" fmla="*/ 25 w 5066"/>
                <a:gd name="T75" fmla="*/ 4022 h 5294"/>
                <a:gd name="T76" fmla="*/ 135 w 5066"/>
                <a:gd name="T77" fmla="*/ 4458 h 5294"/>
                <a:gd name="T78" fmla="*/ 338 w 5066"/>
                <a:gd name="T79" fmla="*/ 4843 h 5294"/>
                <a:gd name="T80" fmla="*/ 640 w 5066"/>
                <a:gd name="T81" fmla="*/ 5133 h 5294"/>
                <a:gd name="T82" fmla="*/ 1051 w 5066"/>
                <a:gd name="T83" fmla="*/ 5283 h 5294"/>
                <a:gd name="T84" fmla="*/ 1436 w 5066"/>
                <a:gd name="T85" fmla="*/ 5280 h 5294"/>
                <a:gd name="T86" fmla="*/ 1750 w 5066"/>
                <a:gd name="T87" fmla="*/ 5205 h 5294"/>
                <a:gd name="T88" fmla="*/ 2040 w 5066"/>
                <a:gd name="T89" fmla="*/ 5075 h 5294"/>
                <a:gd name="T90" fmla="*/ 2302 w 5066"/>
                <a:gd name="T91" fmla="*/ 4898 h 5294"/>
                <a:gd name="T92" fmla="*/ 2538 w 5066"/>
                <a:gd name="T93" fmla="*/ 4679 h 5294"/>
                <a:gd name="T94" fmla="*/ 2681 w 5066"/>
                <a:gd name="T95" fmla="*/ 4637 h 5294"/>
                <a:gd name="T96" fmla="*/ 2700 w 5066"/>
                <a:gd name="T97" fmla="*/ 5021 h 5294"/>
                <a:gd name="T98" fmla="*/ 2721 w 5066"/>
                <a:gd name="T99" fmla="*/ 5272 h 5294"/>
                <a:gd name="T100" fmla="*/ 4090 w 5066"/>
                <a:gd name="T101" fmla="*/ 4975 h 5294"/>
                <a:gd name="T102" fmla="*/ 4105 w 5066"/>
                <a:gd name="T103" fmla="*/ 4576 h 5294"/>
                <a:gd name="T104" fmla="*/ 4161 w 5066"/>
                <a:gd name="T105" fmla="*/ 4121 h 5294"/>
                <a:gd name="T106" fmla="*/ 4502 w 5066"/>
                <a:gd name="T107" fmla="*/ 2560 h 5294"/>
                <a:gd name="T108" fmla="*/ 4914 w 5066"/>
                <a:gd name="T109" fmla="*/ 744 h 5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66" h="5294">
                  <a:moveTo>
                    <a:pt x="5066" y="81"/>
                  </a:moveTo>
                  <a:lnTo>
                    <a:pt x="4954" y="71"/>
                  </a:lnTo>
                  <a:lnTo>
                    <a:pt x="4837" y="61"/>
                  </a:lnTo>
                  <a:lnTo>
                    <a:pt x="4717" y="52"/>
                  </a:lnTo>
                  <a:lnTo>
                    <a:pt x="4593" y="43"/>
                  </a:lnTo>
                  <a:lnTo>
                    <a:pt x="4466" y="34"/>
                  </a:lnTo>
                  <a:lnTo>
                    <a:pt x="4337" y="27"/>
                  </a:lnTo>
                  <a:lnTo>
                    <a:pt x="4206" y="21"/>
                  </a:lnTo>
                  <a:lnTo>
                    <a:pt x="4074" y="15"/>
                  </a:lnTo>
                  <a:lnTo>
                    <a:pt x="3942" y="10"/>
                  </a:lnTo>
                  <a:lnTo>
                    <a:pt x="3809" y="5"/>
                  </a:lnTo>
                  <a:lnTo>
                    <a:pt x="3678" y="3"/>
                  </a:lnTo>
                  <a:lnTo>
                    <a:pt x="3548" y="1"/>
                  </a:lnTo>
                  <a:lnTo>
                    <a:pt x="3419" y="0"/>
                  </a:lnTo>
                  <a:lnTo>
                    <a:pt x="3294" y="0"/>
                  </a:lnTo>
                  <a:lnTo>
                    <a:pt x="3171" y="1"/>
                  </a:lnTo>
                  <a:lnTo>
                    <a:pt x="3052" y="4"/>
                  </a:lnTo>
                  <a:lnTo>
                    <a:pt x="2963" y="8"/>
                  </a:lnTo>
                  <a:lnTo>
                    <a:pt x="2876" y="13"/>
                  </a:lnTo>
                  <a:lnTo>
                    <a:pt x="2789" y="20"/>
                  </a:lnTo>
                  <a:lnTo>
                    <a:pt x="2704" y="28"/>
                  </a:lnTo>
                  <a:lnTo>
                    <a:pt x="2620" y="39"/>
                  </a:lnTo>
                  <a:lnTo>
                    <a:pt x="2537" y="51"/>
                  </a:lnTo>
                  <a:lnTo>
                    <a:pt x="2456" y="64"/>
                  </a:lnTo>
                  <a:lnTo>
                    <a:pt x="2376" y="80"/>
                  </a:lnTo>
                  <a:lnTo>
                    <a:pt x="2297" y="96"/>
                  </a:lnTo>
                  <a:lnTo>
                    <a:pt x="2220" y="116"/>
                  </a:lnTo>
                  <a:lnTo>
                    <a:pt x="2144" y="137"/>
                  </a:lnTo>
                  <a:lnTo>
                    <a:pt x="2070" y="159"/>
                  </a:lnTo>
                  <a:lnTo>
                    <a:pt x="1996" y="183"/>
                  </a:lnTo>
                  <a:lnTo>
                    <a:pt x="1924" y="209"/>
                  </a:lnTo>
                  <a:lnTo>
                    <a:pt x="1853" y="238"/>
                  </a:lnTo>
                  <a:lnTo>
                    <a:pt x="1783" y="267"/>
                  </a:lnTo>
                  <a:lnTo>
                    <a:pt x="1715" y="299"/>
                  </a:lnTo>
                  <a:lnTo>
                    <a:pt x="1648" y="333"/>
                  </a:lnTo>
                  <a:lnTo>
                    <a:pt x="1582" y="368"/>
                  </a:lnTo>
                  <a:lnTo>
                    <a:pt x="1518" y="405"/>
                  </a:lnTo>
                  <a:lnTo>
                    <a:pt x="1455" y="444"/>
                  </a:lnTo>
                  <a:lnTo>
                    <a:pt x="1393" y="486"/>
                  </a:lnTo>
                  <a:lnTo>
                    <a:pt x="1333" y="529"/>
                  </a:lnTo>
                  <a:lnTo>
                    <a:pt x="1274" y="575"/>
                  </a:lnTo>
                  <a:lnTo>
                    <a:pt x="1216" y="622"/>
                  </a:lnTo>
                  <a:lnTo>
                    <a:pt x="1159" y="671"/>
                  </a:lnTo>
                  <a:lnTo>
                    <a:pt x="1103" y="722"/>
                  </a:lnTo>
                  <a:lnTo>
                    <a:pt x="1049" y="775"/>
                  </a:lnTo>
                  <a:lnTo>
                    <a:pt x="996" y="831"/>
                  </a:lnTo>
                  <a:lnTo>
                    <a:pt x="945" y="887"/>
                  </a:lnTo>
                  <a:lnTo>
                    <a:pt x="895" y="947"/>
                  </a:lnTo>
                  <a:lnTo>
                    <a:pt x="845" y="1008"/>
                  </a:lnTo>
                  <a:lnTo>
                    <a:pt x="1107" y="1006"/>
                  </a:lnTo>
                  <a:lnTo>
                    <a:pt x="1360" y="1005"/>
                  </a:lnTo>
                  <a:lnTo>
                    <a:pt x="1602" y="1004"/>
                  </a:lnTo>
                  <a:lnTo>
                    <a:pt x="1833" y="1003"/>
                  </a:lnTo>
                  <a:lnTo>
                    <a:pt x="2051" y="1001"/>
                  </a:lnTo>
                  <a:lnTo>
                    <a:pt x="2255" y="1001"/>
                  </a:lnTo>
                  <a:lnTo>
                    <a:pt x="2445" y="1000"/>
                  </a:lnTo>
                  <a:lnTo>
                    <a:pt x="2619" y="999"/>
                  </a:lnTo>
                  <a:lnTo>
                    <a:pt x="2776" y="999"/>
                  </a:lnTo>
                  <a:lnTo>
                    <a:pt x="2916" y="998"/>
                  </a:lnTo>
                  <a:lnTo>
                    <a:pt x="3037" y="998"/>
                  </a:lnTo>
                  <a:lnTo>
                    <a:pt x="3139" y="997"/>
                  </a:lnTo>
                  <a:lnTo>
                    <a:pt x="3219" y="997"/>
                  </a:lnTo>
                  <a:lnTo>
                    <a:pt x="3278" y="997"/>
                  </a:lnTo>
                  <a:lnTo>
                    <a:pt x="3315" y="997"/>
                  </a:lnTo>
                  <a:lnTo>
                    <a:pt x="3327" y="997"/>
                  </a:lnTo>
                  <a:lnTo>
                    <a:pt x="3293" y="1144"/>
                  </a:lnTo>
                  <a:lnTo>
                    <a:pt x="3294" y="1144"/>
                  </a:lnTo>
                  <a:lnTo>
                    <a:pt x="3295" y="1145"/>
                  </a:lnTo>
                  <a:lnTo>
                    <a:pt x="3229" y="1425"/>
                  </a:lnTo>
                  <a:lnTo>
                    <a:pt x="3167" y="1688"/>
                  </a:lnTo>
                  <a:lnTo>
                    <a:pt x="3110" y="1930"/>
                  </a:lnTo>
                  <a:lnTo>
                    <a:pt x="3058" y="2155"/>
                  </a:lnTo>
                  <a:lnTo>
                    <a:pt x="3011" y="2360"/>
                  </a:lnTo>
                  <a:lnTo>
                    <a:pt x="2970" y="2546"/>
                  </a:lnTo>
                  <a:lnTo>
                    <a:pt x="2933" y="2714"/>
                  </a:lnTo>
                  <a:lnTo>
                    <a:pt x="2900" y="2864"/>
                  </a:lnTo>
                  <a:lnTo>
                    <a:pt x="2872" y="2996"/>
                  </a:lnTo>
                  <a:lnTo>
                    <a:pt x="2848" y="3110"/>
                  </a:lnTo>
                  <a:lnTo>
                    <a:pt x="2827" y="3205"/>
                  </a:lnTo>
                  <a:lnTo>
                    <a:pt x="2812" y="3283"/>
                  </a:lnTo>
                  <a:lnTo>
                    <a:pt x="2799" y="3343"/>
                  </a:lnTo>
                  <a:lnTo>
                    <a:pt x="2791" y="3387"/>
                  </a:lnTo>
                  <a:lnTo>
                    <a:pt x="2786" y="3412"/>
                  </a:lnTo>
                  <a:lnTo>
                    <a:pt x="2785" y="3421"/>
                  </a:lnTo>
                  <a:lnTo>
                    <a:pt x="2757" y="3462"/>
                  </a:lnTo>
                  <a:lnTo>
                    <a:pt x="2727" y="3505"/>
                  </a:lnTo>
                  <a:lnTo>
                    <a:pt x="2696" y="3550"/>
                  </a:lnTo>
                  <a:lnTo>
                    <a:pt x="2661" y="3594"/>
                  </a:lnTo>
                  <a:lnTo>
                    <a:pt x="2643" y="3616"/>
                  </a:lnTo>
                  <a:lnTo>
                    <a:pt x="2624" y="3638"/>
                  </a:lnTo>
                  <a:lnTo>
                    <a:pt x="2605" y="3659"/>
                  </a:lnTo>
                  <a:lnTo>
                    <a:pt x="2584" y="3680"/>
                  </a:lnTo>
                  <a:lnTo>
                    <a:pt x="2563" y="3701"/>
                  </a:lnTo>
                  <a:lnTo>
                    <a:pt x="2542" y="3721"/>
                  </a:lnTo>
                  <a:lnTo>
                    <a:pt x="2520" y="3742"/>
                  </a:lnTo>
                  <a:lnTo>
                    <a:pt x="2496" y="3760"/>
                  </a:lnTo>
                  <a:lnTo>
                    <a:pt x="2472" y="3779"/>
                  </a:lnTo>
                  <a:lnTo>
                    <a:pt x="2447" y="3798"/>
                  </a:lnTo>
                  <a:lnTo>
                    <a:pt x="2421" y="3815"/>
                  </a:lnTo>
                  <a:lnTo>
                    <a:pt x="2396" y="3831"/>
                  </a:lnTo>
                  <a:lnTo>
                    <a:pt x="2369" y="3846"/>
                  </a:lnTo>
                  <a:lnTo>
                    <a:pt x="2340" y="3861"/>
                  </a:lnTo>
                  <a:lnTo>
                    <a:pt x="2311" y="3874"/>
                  </a:lnTo>
                  <a:lnTo>
                    <a:pt x="2281" y="3886"/>
                  </a:lnTo>
                  <a:lnTo>
                    <a:pt x="2251" y="3898"/>
                  </a:lnTo>
                  <a:lnTo>
                    <a:pt x="2219" y="3908"/>
                  </a:lnTo>
                  <a:lnTo>
                    <a:pt x="2185" y="3916"/>
                  </a:lnTo>
                  <a:lnTo>
                    <a:pt x="2151" y="3924"/>
                  </a:lnTo>
                  <a:lnTo>
                    <a:pt x="2117" y="3929"/>
                  </a:lnTo>
                  <a:lnTo>
                    <a:pt x="2081" y="3933"/>
                  </a:lnTo>
                  <a:lnTo>
                    <a:pt x="2045" y="3936"/>
                  </a:lnTo>
                  <a:lnTo>
                    <a:pt x="2006" y="3936"/>
                  </a:lnTo>
                  <a:lnTo>
                    <a:pt x="1973" y="3936"/>
                  </a:lnTo>
                  <a:lnTo>
                    <a:pt x="1941" y="3933"/>
                  </a:lnTo>
                  <a:lnTo>
                    <a:pt x="1911" y="3929"/>
                  </a:lnTo>
                  <a:lnTo>
                    <a:pt x="1883" y="3923"/>
                  </a:lnTo>
                  <a:lnTo>
                    <a:pt x="1857" y="3914"/>
                  </a:lnTo>
                  <a:lnTo>
                    <a:pt x="1833" y="3905"/>
                  </a:lnTo>
                  <a:lnTo>
                    <a:pt x="1809" y="3894"/>
                  </a:lnTo>
                  <a:lnTo>
                    <a:pt x="1787" y="3881"/>
                  </a:lnTo>
                  <a:lnTo>
                    <a:pt x="1767" y="3868"/>
                  </a:lnTo>
                  <a:lnTo>
                    <a:pt x="1749" y="3853"/>
                  </a:lnTo>
                  <a:lnTo>
                    <a:pt x="1731" y="3837"/>
                  </a:lnTo>
                  <a:lnTo>
                    <a:pt x="1716" y="3819"/>
                  </a:lnTo>
                  <a:lnTo>
                    <a:pt x="1701" y="3801"/>
                  </a:lnTo>
                  <a:lnTo>
                    <a:pt x="1688" y="3781"/>
                  </a:lnTo>
                  <a:lnTo>
                    <a:pt x="1675" y="3760"/>
                  </a:lnTo>
                  <a:lnTo>
                    <a:pt x="1664" y="3740"/>
                  </a:lnTo>
                  <a:lnTo>
                    <a:pt x="1653" y="3717"/>
                  </a:lnTo>
                  <a:lnTo>
                    <a:pt x="1645" y="3694"/>
                  </a:lnTo>
                  <a:lnTo>
                    <a:pt x="1637" y="3670"/>
                  </a:lnTo>
                  <a:lnTo>
                    <a:pt x="1631" y="3646"/>
                  </a:lnTo>
                  <a:lnTo>
                    <a:pt x="1625" y="3620"/>
                  </a:lnTo>
                  <a:lnTo>
                    <a:pt x="1619" y="3595"/>
                  </a:lnTo>
                  <a:lnTo>
                    <a:pt x="1615" y="3568"/>
                  </a:lnTo>
                  <a:lnTo>
                    <a:pt x="1611" y="3543"/>
                  </a:lnTo>
                  <a:lnTo>
                    <a:pt x="1608" y="3516"/>
                  </a:lnTo>
                  <a:lnTo>
                    <a:pt x="1606" y="3488"/>
                  </a:lnTo>
                  <a:lnTo>
                    <a:pt x="1605" y="3461"/>
                  </a:lnTo>
                  <a:lnTo>
                    <a:pt x="1604" y="3433"/>
                  </a:lnTo>
                  <a:lnTo>
                    <a:pt x="1603" y="3378"/>
                  </a:lnTo>
                  <a:lnTo>
                    <a:pt x="1604" y="3324"/>
                  </a:lnTo>
                  <a:lnTo>
                    <a:pt x="1607" y="3257"/>
                  </a:lnTo>
                  <a:lnTo>
                    <a:pt x="1611" y="3188"/>
                  </a:lnTo>
                  <a:lnTo>
                    <a:pt x="1616" y="3120"/>
                  </a:lnTo>
                  <a:lnTo>
                    <a:pt x="1622" y="3050"/>
                  </a:lnTo>
                  <a:lnTo>
                    <a:pt x="1630" y="2979"/>
                  </a:lnTo>
                  <a:lnTo>
                    <a:pt x="1638" y="2907"/>
                  </a:lnTo>
                  <a:lnTo>
                    <a:pt x="1647" y="2835"/>
                  </a:lnTo>
                  <a:lnTo>
                    <a:pt x="1659" y="2763"/>
                  </a:lnTo>
                  <a:lnTo>
                    <a:pt x="1670" y="2691"/>
                  </a:lnTo>
                  <a:lnTo>
                    <a:pt x="1684" y="2618"/>
                  </a:lnTo>
                  <a:lnTo>
                    <a:pt x="1698" y="2545"/>
                  </a:lnTo>
                  <a:lnTo>
                    <a:pt x="1714" y="2473"/>
                  </a:lnTo>
                  <a:lnTo>
                    <a:pt x="1730" y="2400"/>
                  </a:lnTo>
                  <a:lnTo>
                    <a:pt x="1748" y="2329"/>
                  </a:lnTo>
                  <a:lnTo>
                    <a:pt x="1766" y="2259"/>
                  </a:lnTo>
                  <a:lnTo>
                    <a:pt x="1786" y="2189"/>
                  </a:lnTo>
                  <a:lnTo>
                    <a:pt x="1808" y="2119"/>
                  </a:lnTo>
                  <a:lnTo>
                    <a:pt x="1830" y="2051"/>
                  </a:lnTo>
                  <a:lnTo>
                    <a:pt x="1854" y="1984"/>
                  </a:lnTo>
                  <a:lnTo>
                    <a:pt x="1879" y="1919"/>
                  </a:lnTo>
                  <a:lnTo>
                    <a:pt x="1905" y="1855"/>
                  </a:lnTo>
                  <a:lnTo>
                    <a:pt x="1932" y="1793"/>
                  </a:lnTo>
                  <a:lnTo>
                    <a:pt x="1961" y="1732"/>
                  </a:lnTo>
                  <a:lnTo>
                    <a:pt x="1990" y="1674"/>
                  </a:lnTo>
                  <a:lnTo>
                    <a:pt x="2021" y="1618"/>
                  </a:lnTo>
                  <a:lnTo>
                    <a:pt x="2053" y="1564"/>
                  </a:lnTo>
                  <a:lnTo>
                    <a:pt x="2086" y="1512"/>
                  </a:lnTo>
                  <a:lnTo>
                    <a:pt x="2121" y="1464"/>
                  </a:lnTo>
                  <a:lnTo>
                    <a:pt x="2158" y="1417"/>
                  </a:lnTo>
                  <a:lnTo>
                    <a:pt x="2194" y="1374"/>
                  </a:lnTo>
                  <a:lnTo>
                    <a:pt x="2232" y="1334"/>
                  </a:lnTo>
                  <a:lnTo>
                    <a:pt x="2272" y="1295"/>
                  </a:lnTo>
                  <a:lnTo>
                    <a:pt x="2188" y="1297"/>
                  </a:lnTo>
                  <a:lnTo>
                    <a:pt x="2101" y="1299"/>
                  </a:lnTo>
                  <a:lnTo>
                    <a:pt x="2011" y="1302"/>
                  </a:lnTo>
                  <a:lnTo>
                    <a:pt x="1917" y="1304"/>
                  </a:lnTo>
                  <a:lnTo>
                    <a:pt x="1822" y="1307"/>
                  </a:lnTo>
                  <a:lnTo>
                    <a:pt x="1725" y="1309"/>
                  </a:lnTo>
                  <a:lnTo>
                    <a:pt x="1625" y="1311"/>
                  </a:lnTo>
                  <a:lnTo>
                    <a:pt x="1521" y="1314"/>
                  </a:lnTo>
                  <a:lnTo>
                    <a:pt x="1416" y="1317"/>
                  </a:lnTo>
                  <a:lnTo>
                    <a:pt x="1309" y="1320"/>
                  </a:lnTo>
                  <a:lnTo>
                    <a:pt x="1199" y="1323"/>
                  </a:lnTo>
                  <a:lnTo>
                    <a:pt x="1087" y="1326"/>
                  </a:lnTo>
                  <a:lnTo>
                    <a:pt x="975" y="1330"/>
                  </a:lnTo>
                  <a:lnTo>
                    <a:pt x="859" y="1334"/>
                  </a:lnTo>
                  <a:lnTo>
                    <a:pt x="741" y="1338"/>
                  </a:lnTo>
                  <a:lnTo>
                    <a:pt x="622" y="1342"/>
                  </a:lnTo>
                  <a:lnTo>
                    <a:pt x="588" y="1399"/>
                  </a:lnTo>
                  <a:lnTo>
                    <a:pt x="556" y="1456"/>
                  </a:lnTo>
                  <a:lnTo>
                    <a:pt x="524" y="1516"/>
                  </a:lnTo>
                  <a:lnTo>
                    <a:pt x="494" y="1576"/>
                  </a:lnTo>
                  <a:lnTo>
                    <a:pt x="463" y="1638"/>
                  </a:lnTo>
                  <a:lnTo>
                    <a:pt x="434" y="1700"/>
                  </a:lnTo>
                  <a:lnTo>
                    <a:pt x="406" y="1763"/>
                  </a:lnTo>
                  <a:lnTo>
                    <a:pt x="378" y="1828"/>
                  </a:lnTo>
                  <a:lnTo>
                    <a:pt x="351" y="1893"/>
                  </a:lnTo>
                  <a:lnTo>
                    <a:pt x="326" y="1958"/>
                  </a:lnTo>
                  <a:lnTo>
                    <a:pt x="301" y="2026"/>
                  </a:lnTo>
                  <a:lnTo>
                    <a:pt x="276" y="2094"/>
                  </a:lnTo>
                  <a:lnTo>
                    <a:pt x="253" y="2162"/>
                  </a:lnTo>
                  <a:lnTo>
                    <a:pt x="230" y="2231"/>
                  </a:lnTo>
                  <a:lnTo>
                    <a:pt x="210" y="2301"/>
                  </a:lnTo>
                  <a:lnTo>
                    <a:pt x="189" y="2371"/>
                  </a:lnTo>
                  <a:lnTo>
                    <a:pt x="169" y="2444"/>
                  </a:lnTo>
                  <a:lnTo>
                    <a:pt x="151" y="2515"/>
                  </a:lnTo>
                  <a:lnTo>
                    <a:pt x="133" y="2588"/>
                  </a:lnTo>
                  <a:lnTo>
                    <a:pt x="117" y="2662"/>
                  </a:lnTo>
                  <a:lnTo>
                    <a:pt x="101" y="2736"/>
                  </a:lnTo>
                  <a:lnTo>
                    <a:pt x="86" y="2810"/>
                  </a:lnTo>
                  <a:lnTo>
                    <a:pt x="73" y="2885"/>
                  </a:lnTo>
                  <a:lnTo>
                    <a:pt x="61" y="2961"/>
                  </a:lnTo>
                  <a:lnTo>
                    <a:pt x="49" y="3037"/>
                  </a:lnTo>
                  <a:lnTo>
                    <a:pt x="39" y="3114"/>
                  </a:lnTo>
                  <a:lnTo>
                    <a:pt x="30" y="3190"/>
                  </a:lnTo>
                  <a:lnTo>
                    <a:pt x="21" y="3268"/>
                  </a:lnTo>
                  <a:lnTo>
                    <a:pt x="14" y="3345"/>
                  </a:lnTo>
                  <a:lnTo>
                    <a:pt x="9" y="3424"/>
                  </a:lnTo>
                  <a:lnTo>
                    <a:pt x="4" y="3502"/>
                  </a:lnTo>
                  <a:lnTo>
                    <a:pt x="1" y="3582"/>
                  </a:lnTo>
                  <a:lnTo>
                    <a:pt x="0" y="3653"/>
                  </a:lnTo>
                  <a:lnTo>
                    <a:pt x="0" y="3726"/>
                  </a:lnTo>
                  <a:lnTo>
                    <a:pt x="3" y="3800"/>
                  </a:lnTo>
                  <a:lnTo>
                    <a:pt x="8" y="3873"/>
                  </a:lnTo>
                  <a:lnTo>
                    <a:pt x="16" y="3947"/>
                  </a:lnTo>
                  <a:lnTo>
                    <a:pt x="25" y="4022"/>
                  </a:lnTo>
                  <a:lnTo>
                    <a:pt x="38" y="4096"/>
                  </a:lnTo>
                  <a:lnTo>
                    <a:pt x="52" y="4170"/>
                  </a:lnTo>
                  <a:lnTo>
                    <a:pt x="70" y="4244"/>
                  </a:lnTo>
                  <a:lnTo>
                    <a:pt x="89" y="4316"/>
                  </a:lnTo>
                  <a:lnTo>
                    <a:pt x="111" y="4387"/>
                  </a:lnTo>
                  <a:lnTo>
                    <a:pt x="135" y="4458"/>
                  </a:lnTo>
                  <a:lnTo>
                    <a:pt x="163" y="4527"/>
                  </a:lnTo>
                  <a:lnTo>
                    <a:pt x="192" y="4594"/>
                  </a:lnTo>
                  <a:lnTo>
                    <a:pt x="225" y="4660"/>
                  </a:lnTo>
                  <a:lnTo>
                    <a:pt x="259" y="4723"/>
                  </a:lnTo>
                  <a:lnTo>
                    <a:pt x="298" y="4784"/>
                  </a:lnTo>
                  <a:lnTo>
                    <a:pt x="338" y="4843"/>
                  </a:lnTo>
                  <a:lnTo>
                    <a:pt x="381" y="4900"/>
                  </a:lnTo>
                  <a:lnTo>
                    <a:pt x="427" y="4953"/>
                  </a:lnTo>
                  <a:lnTo>
                    <a:pt x="477" y="5003"/>
                  </a:lnTo>
                  <a:lnTo>
                    <a:pt x="528" y="5050"/>
                  </a:lnTo>
                  <a:lnTo>
                    <a:pt x="582" y="5094"/>
                  </a:lnTo>
                  <a:lnTo>
                    <a:pt x="640" y="5133"/>
                  </a:lnTo>
                  <a:lnTo>
                    <a:pt x="701" y="5169"/>
                  </a:lnTo>
                  <a:lnTo>
                    <a:pt x="764" y="5201"/>
                  </a:lnTo>
                  <a:lnTo>
                    <a:pt x="832" y="5229"/>
                  </a:lnTo>
                  <a:lnTo>
                    <a:pt x="902" y="5252"/>
                  </a:lnTo>
                  <a:lnTo>
                    <a:pt x="975" y="5270"/>
                  </a:lnTo>
                  <a:lnTo>
                    <a:pt x="1051" y="5283"/>
                  </a:lnTo>
                  <a:lnTo>
                    <a:pt x="1130" y="5291"/>
                  </a:lnTo>
                  <a:lnTo>
                    <a:pt x="1213" y="5294"/>
                  </a:lnTo>
                  <a:lnTo>
                    <a:pt x="1270" y="5293"/>
                  </a:lnTo>
                  <a:lnTo>
                    <a:pt x="1325" y="5290"/>
                  </a:lnTo>
                  <a:lnTo>
                    <a:pt x="1381" y="5286"/>
                  </a:lnTo>
                  <a:lnTo>
                    <a:pt x="1436" y="5280"/>
                  </a:lnTo>
                  <a:lnTo>
                    <a:pt x="1490" y="5271"/>
                  </a:lnTo>
                  <a:lnTo>
                    <a:pt x="1543" y="5261"/>
                  </a:lnTo>
                  <a:lnTo>
                    <a:pt x="1596" y="5250"/>
                  </a:lnTo>
                  <a:lnTo>
                    <a:pt x="1648" y="5236"/>
                  </a:lnTo>
                  <a:lnTo>
                    <a:pt x="1699" y="5222"/>
                  </a:lnTo>
                  <a:lnTo>
                    <a:pt x="1750" y="5205"/>
                  </a:lnTo>
                  <a:lnTo>
                    <a:pt x="1799" y="5188"/>
                  </a:lnTo>
                  <a:lnTo>
                    <a:pt x="1849" y="5168"/>
                  </a:lnTo>
                  <a:lnTo>
                    <a:pt x="1898" y="5147"/>
                  </a:lnTo>
                  <a:lnTo>
                    <a:pt x="1945" y="5125"/>
                  </a:lnTo>
                  <a:lnTo>
                    <a:pt x="1993" y="5101"/>
                  </a:lnTo>
                  <a:lnTo>
                    <a:pt x="2040" y="5075"/>
                  </a:lnTo>
                  <a:lnTo>
                    <a:pt x="2085" y="5049"/>
                  </a:lnTo>
                  <a:lnTo>
                    <a:pt x="2130" y="5021"/>
                  </a:lnTo>
                  <a:lnTo>
                    <a:pt x="2174" y="4993"/>
                  </a:lnTo>
                  <a:lnTo>
                    <a:pt x="2218" y="4962"/>
                  </a:lnTo>
                  <a:lnTo>
                    <a:pt x="2260" y="4931"/>
                  </a:lnTo>
                  <a:lnTo>
                    <a:pt x="2302" y="4898"/>
                  </a:lnTo>
                  <a:lnTo>
                    <a:pt x="2344" y="4863"/>
                  </a:lnTo>
                  <a:lnTo>
                    <a:pt x="2384" y="4828"/>
                  </a:lnTo>
                  <a:lnTo>
                    <a:pt x="2424" y="4793"/>
                  </a:lnTo>
                  <a:lnTo>
                    <a:pt x="2463" y="4756"/>
                  </a:lnTo>
                  <a:lnTo>
                    <a:pt x="2501" y="4718"/>
                  </a:lnTo>
                  <a:lnTo>
                    <a:pt x="2538" y="4679"/>
                  </a:lnTo>
                  <a:lnTo>
                    <a:pt x="2576" y="4638"/>
                  </a:lnTo>
                  <a:lnTo>
                    <a:pt x="2612" y="4598"/>
                  </a:lnTo>
                  <a:lnTo>
                    <a:pt x="2647" y="4556"/>
                  </a:lnTo>
                  <a:lnTo>
                    <a:pt x="2681" y="4513"/>
                  </a:lnTo>
                  <a:lnTo>
                    <a:pt x="2681" y="4574"/>
                  </a:lnTo>
                  <a:lnTo>
                    <a:pt x="2681" y="4637"/>
                  </a:lnTo>
                  <a:lnTo>
                    <a:pt x="2683" y="4702"/>
                  </a:lnTo>
                  <a:lnTo>
                    <a:pt x="2685" y="4768"/>
                  </a:lnTo>
                  <a:lnTo>
                    <a:pt x="2688" y="4833"/>
                  </a:lnTo>
                  <a:lnTo>
                    <a:pt x="2692" y="4899"/>
                  </a:lnTo>
                  <a:lnTo>
                    <a:pt x="2696" y="4962"/>
                  </a:lnTo>
                  <a:lnTo>
                    <a:pt x="2700" y="5021"/>
                  </a:lnTo>
                  <a:lnTo>
                    <a:pt x="2704" y="5077"/>
                  </a:lnTo>
                  <a:lnTo>
                    <a:pt x="2708" y="5130"/>
                  </a:lnTo>
                  <a:lnTo>
                    <a:pt x="2712" y="5175"/>
                  </a:lnTo>
                  <a:lnTo>
                    <a:pt x="2715" y="5216"/>
                  </a:lnTo>
                  <a:lnTo>
                    <a:pt x="2719" y="5248"/>
                  </a:lnTo>
                  <a:lnTo>
                    <a:pt x="2721" y="5272"/>
                  </a:lnTo>
                  <a:lnTo>
                    <a:pt x="2723" y="5288"/>
                  </a:lnTo>
                  <a:lnTo>
                    <a:pt x="2723" y="5293"/>
                  </a:lnTo>
                  <a:lnTo>
                    <a:pt x="4092" y="5128"/>
                  </a:lnTo>
                  <a:lnTo>
                    <a:pt x="4091" y="5081"/>
                  </a:lnTo>
                  <a:lnTo>
                    <a:pt x="4090" y="5031"/>
                  </a:lnTo>
                  <a:lnTo>
                    <a:pt x="4090" y="4975"/>
                  </a:lnTo>
                  <a:lnTo>
                    <a:pt x="4091" y="4916"/>
                  </a:lnTo>
                  <a:lnTo>
                    <a:pt x="4092" y="4854"/>
                  </a:lnTo>
                  <a:lnTo>
                    <a:pt x="4094" y="4788"/>
                  </a:lnTo>
                  <a:lnTo>
                    <a:pt x="4096" y="4720"/>
                  </a:lnTo>
                  <a:lnTo>
                    <a:pt x="4100" y="4649"/>
                  </a:lnTo>
                  <a:lnTo>
                    <a:pt x="4105" y="4576"/>
                  </a:lnTo>
                  <a:lnTo>
                    <a:pt x="4111" y="4502"/>
                  </a:lnTo>
                  <a:lnTo>
                    <a:pt x="4118" y="4427"/>
                  </a:lnTo>
                  <a:lnTo>
                    <a:pt x="4127" y="4350"/>
                  </a:lnTo>
                  <a:lnTo>
                    <a:pt x="4137" y="4274"/>
                  </a:lnTo>
                  <a:lnTo>
                    <a:pt x="4149" y="4197"/>
                  </a:lnTo>
                  <a:lnTo>
                    <a:pt x="4161" y="4121"/>
                  </a:lnTo>
                  <a:lnTo>
                    <a:pt x="4177" y="4044"/>
                  </a:lnTo>
                  <a:lnTo>
                    <a:pt x="4231" y="3790"/>
                  </a:lnTo>
                  <a:lnTo>
                    <a:pt x="4293" y="3509"/>
                  </a:lnTo>
                  <a:lnTo>
                    <a:pt x="4359" y="3205"/>
                  </a:lnTo>
                  <a:lnTo>
                    <a:pt x="4429" y="2888"/>
                  </a:lnTo>
                  <a:lnTo>
                    <a:pt x="4502" y="2560"/>
                  </a:lnTo>
                  <a:lnTo>
                    <a:pt x="4576" y="2230"/>
                  </a:lnTo>
                  <a:lnTo>
                    <a:pt x="4650" y="1903"/>
                  </a:lnTo>
                  <a:lnTo>
                    <a:pt x="4722" y="1585"/>
                  </a:lnTo>
                  <a:lnTo>
                    <a:pt x="4791" y="1281"/>
                  </a:lnTo>
                  <a:lnTo>
                    <a:pt x="4856" y="999"/>
                  </a:lnTo>
                  <a:lnTo>
                    <a:pt x="4914" y="744"/>
                  </a:lnTo>
                  <a:lnTo>
                    <a:pt x="4964" y="521"/>
                  </a:lnTo>
                  <a:lnTo>
                    <a:pt x="5007" y="338"/>
                  </a:lnTo>
                  <a:lnTo>
                    <a:pt x="5038" y="200"/>
                  </a:lnTo>
                  <a:lnTo>
                    <a:pt x="5059" y="112"/>
                  </a:lnTo>
                  <a:lnTo>
                    <a:pt x="5066" y="81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E80B4F51-A2EA-45B1-B058-23F9920F16E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65809" y="6119995"/>
              <a:ext cx="288483" cy="259636"/>
            </a:xfrm>
            <a:custGeom>
              <a:avLst/>
              <a:gdLst>
                <a:gd name="T0" fmla="*/ 2869 w 3912"/>
                <a:gd name="T1" fmla="*/ 283 h 3530"/>
                <a:gd name="T2" fmla="*/ 2669 w 3912"/>
                <a:gd name="T3" fmla="*/ 133 h 3530"/>
                <a:gd name="T4" fmla="*/ 2539 w 3912"/>
                <a:gd name="T5" fmla="*/ 24 h 3530"/>
                <a:gd name="T6" fmla="*/ 2360 w 3912"/>
                <a:gd name="T7" fmla="*/ 20 h 3530"/>
                <a:gd name="T8" fmla="*/ 2160 w 3912"/>
                <a:gd name="T9" fmla="*/ 46 h 3530"/>
                <a:gd name="T10" fmla="*/ 1964 w 3912"/>
                <a:gd name="T11" fmla="*/ 74 h 3530"/>
                <a:gd name="T12" fmla="*/ 1774 w 3912"/>
                <a:gd name="T13" fmla="*/ 102 h 3530"/>
                <a:gd name="T14" fmla="*/ 1512 w 3912"/>
                <a:gd name="T15" fmla="*/ 145 h 3530"/>
                <a:gd name="T16" fmla="*/ 1235 w 3912"/>
                <a:gd name="T17" fmla="*/ 192 h 3530"/>
                <a:gd name="T18" fmla="*/ 966 w 3912"/>
                <a:gd name="T19" fmla="*/ 240 h 3530"/>
                <a:gd name="T20" fmla="*/ 707 w 3912"/>
                <a:gd name="T21" fmla="*/ 289 h 3530"/>
                <a:gd name="T22" fmla="*/ 675 w 3912"/>
                <a:gd name="T23" fmla="*/ 421 h 3530"/>
                <a:gd name="T24" fmla="*/ 732 w 3912"/>
                <a:gd name="T25" fmla="*/ 568 h 3530"/>
                <a:gd name="T26" fmla="*/ 808 w 3912"/>
                <a:gd name="T27" fmla="*/ 702 h 3530"/>
                <a:gd name="T28" fmla="*/ 902 w 3912"/>
                <a:gd name="T29" fmla="*/ 826 h 3530"/>
                <a:gd name="T30" fmla="*/ 1013 w 3912"/>
                <a:gd name="T31" fmla="*/ 945 h 3530"/>
                <a:gd name="T32" fmla="*/ 1139 w 3912"/>
                <a:gd name="T33" fmla="*/ 1059 h 3530"/>
                <a:gd name="T34" fmla="*/ 1396 w 3912"/>
                <a:gd name="T35" fmla="*/ 1256 h 3530"/>
                <a:gd name="T36" fmla="*/ 1650 w 3912"/>
                <a:gd name="T37" fmla="*/ 1422 h 3530"/>
                <a:gd name="T38" fmla="*/ 1865 w 3912"/>
                <a:gd name="T39" fmla="*/ 1562 h 3530"/>
                <a:gd name="T40" fmla="*/ 1996 w 3912"/>
                <a:gd name="T41" fmla="*/ 1664 h 3530"/>
                <a:gd name="T42" fmla="*/ 2081 w 3912"/>
                <a:gd name="T43" fmla="*/ 1751 h 3530"/>
                <a:gd name="T44" fmla="*/ 2115 w 3912"/>
                <a:gd name="T45" fmla="*/ 1809 h 3530"/>
                <a:gd name="T46" fmla="*/ 2131 w 3912"/>
                <a:gd name="T47" fmla="*/ 1871 h 3530"/>
                <a:gd name="T48" fmla="*/ 2130 w 3912"/>
                <a:gd name="T49" fmla="*/ 1935 h 3530"/>
                <a:gd name="T50" fmla="*/ 2112 w 3912"/>
                <a:gd name="T51" fmla="*/ 2008 h 3530"/>
                <a:gd name="T52" fmla="*/ 2070 w 3912"/>
                <a:gd name="T53" fmla="*/ 2104 h 3530"/>
                <a:gd name="T54" fmla="*/ 2009 w 3912"/>
                <a:gd name="T55" fmla="*/ 2180 h 3530"/>
                <a:gd name="T56" fmla="*/ 1930 w 3912"/>
                <a:gd name="T57" fmla="*/ 2239 h 3530"/>
                <a:gd name="T58" fmla="*/ 1838 w 3912"/>
                <a:gd name="T59" fmla="*/ 2282 h 3530"/>
                <a:gd name="T60" fmla="*/ 1731 w 3912"/>
                <a:gd name="T61" fmla="*/ 2313 h 3530"/>
                <a:gd name="T62" fmla="*/ 1613 w 3912"/>
                <a:gd name="T63" fmla="*/ 2332 h 3530"/>
                <a:gd name="T64" fmla="*/ 1451 w 3912"/>
                <a:gd name="T65" fmla="*/ 2343 h 3530"/>
                <a:gd name="T66" fmla="*/ 1203 w 3912"/>
                <a:gd name="T67" fmla="*/ 2342 h 3530"/>
                <a:gd name="T68" fmla="*/ 984 w 3912"/>
                <a:gd name="T69" fmla="*/ 2330 h 3530"/>
                <a:gd name="T70" fmla="*/ 664 w 3912"/>
                <a:gd name="T71" fmla="*/ 2292 h 3530"/>
                <a:gd name="T72" fmla="*/ 411 w 3912"/>
                <a:gd name="T73" fmla="*/ 2241 h 3530"/>
                <a:gd name="T74" fmla="*/ 296 w 3912"/>
                <a:gd name="T75" fmla="*/ 2211 h 3530"/>
                <a:gd name="T76" fmla="*/ 33 w 3912"/>
                <a:gd name="T77" fmla="*/ 3415 h 3530"/>
                <a:gd name="T78" fmla="*/ 289 w 3912"/>
                <a:gd name="T79" fmla="*/ 3458 h 3530"/>
                <a:gd name="T80" fmla="*/ 626 w 3912"/>
                <a:gd name="T81" fmla="*/ 3497 h 3530"/>
                <a:gd name="T82" fmla="*/ 911 w 3912"/>
                <a:gd name="T83" fmla="*/ 3517 h 3530"/>
                <a:gd name="T84" fmla="*/ 1239 w 3912"/>
                <a:gd name="T85" fmla="*/ 3529 h 3530"/>
                <a:gd name="T86" fmla="*/ 1605 w 3912"/>
                <a:gd name="T87" fmla="*/ 3526 h 3530"/>
                <a:gd name="T88" fmla="*/ 2057 w 3912"/>
                <a:gd name="T89" fmla="*/ 3493 h 3530"/>
                <a:gd name="T90" fmla="*/ 2518 w 3912"/>
                <a:gd name="T91" fmla="*/ 3389 h 3530"/>
                <a:gd name="T92" fmla="*/ 2911 w 3912"/>
                <a:gd name="T93" fmla="*/ 3223 h 3530"/>
                <a:gd name="T94" fmla="*/ 3237 w 3912"/>
                <a:gd name="T95" fmla="*/ 3003 h 3530"/>
                <a:gd name="T96" fmla="*/ 3497 w 3912"/>
                <a:gd name="T97" fmla="*/ 2740 h 3530"/>
                <a:gd name="T98" fmla="*/ 3694 w 3912"/>
                <a:gd name="T99" fmla="*/ 2445 h 3530"/>
                <a:gd name="T100" fmla="*/ 3827 w 3912"/>
                <a:gd name="T101" fmla="*/ 2128 h 3530"/>
                <a:gd name="T102" fmla="*/ 3899 w 3912"/>
                <a:gd name="T103" fmla="*/ 1800 h 3530"/>
                <a:gd name="T104" fmla="*/ 3910 w 3912"/>
                <a:gd name="T105" fmla="*/ 1533 h 3530"/>
                <a:gd name="T106" fmla="*/ 3875 w 3912"/>
                <a:gd name="T107" fmla="*/ 1340 h 3530"/>
                <a:gd name="T108" fmla="*/ 3805 w 3912"/>
                <a:gd name="T109" fmla="*/ 1164 h 3530"/>
                <a:gd name="T110" fmla="*/ 3702 w 3912"/>
                <a:gd name="T111" fmla="*/ 1000 h 3530"/>
                <a:gd name="T112" fmla="*/ 3575 w 3912"/>
                <a:gd name="T113" fmla="*/ 848 h 3530"/>
                <a:gd name="T114" fmla="*/ 3427 w 3912"/>
                <a:gd name="T115" fmla="*/ 706 h 3530"/>
                <a:gd name="T116" fmla="*/ 3265 w 3912"/>
                <a:gd name="T117" fmla="*/ 573 h 3530"/>
                <a:gd name="T118" fmla="*/ 3009 w 3912"/>
                <a:gd name="T119" fmla="*/ 386 h 3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12" h="3530">
                  <a:moveTo>
                    <a:pt x="3009" y="386"/>
                  </a:moveTo>
                  <a:lnTo>
                    <a:pt x="2964" y="353"/>
                  </a:lnTo>
                  <a:lnTo>
                    <a:pt x="2918" y="318"/>
                  </a:lnTo>
                  <a:lnTo>
                    <a:pt x="2869" y="283"/>
                  </a:lnTo>
                  <a:lnTo>
                    <a:pt x="2819" y="247"/>
                  </a:lnTo>
                  <a:lnTo>
                    <a:pt x="2769" y="210"/>
                  </a:lnTo>
                  <a:lnTo>
                    <a:pt x="2718" y="172"/>
                  </a:lnTo>
                  <a:lnTo>
                    <a:pt x="2669" y="133"/>
                  </a:lnTo>
                  <a:lnTo>
                    <a:pt x="2623" y="93"/>
                  </a:lnTo>
                  <a:lnTo>
                    <a:pt x="2595" y="69"/>
                  </a:lnTo>
                  <a:lnTo>
                    <a:pt x="2566" y="46"/>
                  </a:lnTo>
                  <a:lnTo>
                    <a:pt x="2539" y="24"/>
                  </a:lnTo>
                  <a:lnTo>
                    <a:pt x="2512" y="0"/>
                  </a:lnTo>
                  <a:lnTo>
                    <a:pt x="2461" y="7"/>
                  </a:lnTo>
                  <a:lnTo>
                    <a:pt x="2410" y="13"/>
                  </a:lnTo>
                  <a:lnTo>
                    <a:pt x="2360" y="20"/>
                  </a:lnTo>
                  <a:lnTo>
                    <a:pt x="2309" y="27"/>
                  </a:lnTo>
                  <a:lnTo>
                    <a:pt x="2259" y="33"/>
                  </a:lnTo>
                  <a:lnTo>
                    <a:pt x="2209" y="40"/>
                  </a:lnTo>
                  <a:lnTo>
                    <a:pt x="2160" y="46"/>
                  </a:lnTo>
                  <a:lnTo>
                    <a:pt x="2110" y="54"/>
                  </a:lnTo>
                  <a:lnTo>
                    <a:pt x="2062" y="60"/>
                  </a:lnTo>
                  <a:lnTo>
                    <a:pt x="2013" y="67"/>
                  </a:lnTo>
                  <a:lnTo>
                    <a:pt x="1964" y="74"/>
                  </a:lnTo>
                  <a:lnTo>
                    <a:pt x="1916" y="82"/>
                  </a:lnTo>
                  <a:lnTo>
                    <a:pt x="1868" y="89"/>
                  </a:lnTo>
                  <a:lnTo>
                    <a:pt x="1820" y="95"/>
                  </a:lnTo>
                  <a:lnTo>
                    <a:pt x="1774" y="102"/>
                  </a:lnTo>
                  <a:lnTo>
                    <a:pt x="1727" y="109"/>
                  </a:lnTo>
                  <a:lnTo>
                    <a:pt x="1655" y="121"/>
                  </a:lnTo>
                  <a:lnTo>
                    <a:pt x="1583" y="133"/>
                  </a:lnTo>
                  <a:lnTo>
                    <a:pt x="1512" y="145"/>
                  </a:lnTo>
                  <a:lnTo>
                    <a:pt x="1442" y="156"/>
                  </a:lnTo>
                  <a:lnTo>
                    <a:pt x="1372" y="168"/>
                  </a:lnTo>
                  <a:lnTo>
                    <a:pt x="1303" y="180"/>
                  </a:lnTo>
                  <a:lnTo>
                    <a:pt x="1235" y="192"/>
                  </a:lnTo>
                  <a:lnTo>
                    <a:pt x="1166" y="203"/>
                  </a:lnTo>
                  <a:lnTo>
                    <a:pt x="1099" y="216"/>
                  </a:lnTo>
                  <a:lnTo>
                    <a:pt x="1032" y="228"/>
                  </a:lnTo>
                  <a:lnTo>
                    <a:pt x="966" y="240"/>
                  </a:lnTo>
                  <a:lnTo>
                    <a:pt x="900" y="252"/>
                  </a:lnTo>
                  <a:lnTo>
                    <a:pt x="835" y="264"/>
                  </a:lnTo>
                  <a:lnTo>
                    <a:pt x="771" y="277"/>
                  </a:lnTo>
                  <a:lnTo>
                    <a:pt x="707" y="289"/>
                  </a:lnTo>
                  <a:lnTo>
                    <a:pt x="644" y="302"/>
                  </a:lnTo>
                  <a:lnTo>
                    <a:pt x="653" y="343"/>
                  </a:lnTo>
                  <a:lnTo>
                    <a:pt x="662" y="382"/>
                  </a:lnTo>
                  <a:lnTo>
                    <a:pt x="675" y="421"/>
                  </a:lnTo>
                  <a:lnTo>
                    <a:pt x="687" y="458"/>
                  </a:lnTo>
                  <a:lnTo>
                    <a:pt x="701" y="496"/>
                  </a:lnTo>
                  <a:lnTo>
                    <a:pt x="716" y="532"/>
                  </a:lnTo>
                  <a:lnTo>
                    <a:pt x="732" y="568"/>
                  </a:lnTo>
                  <a:lnTo>
                    <a:pt x="749" y="602"/>
                  </a:lnTo>
                  <a:lnTo>
                    <a:pt x="768" y="636"/>
                  </a:lnTo>
                  <a:lnTo>
                    <a:pt x="788" y="669"/>
                  </a:lnTo>
                  <a:lnTo>
                    <a:pt x="808" y="702"/>
                  </a:lnTo>
                  <a:lnTo>
                    <a:pt x="830" y="733"/>
                  </a:lnTo>
                  <a:lnTo>
                    <a:pt x="853" y="765"/>
                  </a:lnTo>
                  <a:lnTo>
                    <a:pt x="878" y="796"/>
                  </a:lnTo>
                  <a:lnTo>
                    <a:pt x="902" y="826"/>
                  </a:lnTo>
                  <a:lnTo>
                    <a:pt x="928" y="856"/>
                  </a:lnTo>
                  <a:lnTo>
                    <a:pt x="955" y="886"/>
                  </a:lnTo>
                  <a:lnTo>
                    <a:pt x="984" y="915"/>
                  </a:lnTo>
                  <a:lnTo>
                    <a:pt x="1013" y="945"/>
                  </a:lnTo>
                  <a:lnTo>
                    <a:pt x="1043" y="973"/>
                  </a:lnTo>
                  <a:lnTo>
                    <a:pt x="1074" y="1002"/>
                  </a:lnTo>
                  <a:lnTo>
                    <a:pt x="1106" y="1030"/>
                  </a:lnTo>
                  <a:lnTo>
                    <a:pt x="1139" y="1059"/>
                  </a:lnTo>
                  <a:lnTo>
                    <a:pt x="1174" y="1086"/>
                  </a:lnTo>
                  <a:lnTo>
                    <a:pt x="1244" y="1142"/>
                  </a:lnTo>
                  <a:lnTo>
                    <a:pt x="1318" y="1199"/>
                  </a:lnTo>
                  <a:lnTo>
                    <a:pt x="1396" y="1256"/>
                  </a:lnTo>
                  <a:lnTo>
                    <a:pt x="1478" y="1314"/>
                  </a:lnTo>
                  <a:lnTo>
                    <a:pt x="1535" y="1350"/>
                  </a:lnTo>
                  <a:lnTo>
                    <a:pt x="1592" y="1386"/>
                  </a:lnTo>
                  <a:lnTo>
                    <a:pt x="1650" y="1422"/>
                  </a:lnTo>
                  <a:lnTo>
                    <a:pt x="1706" y="1458"/>
                  </a:lnTo>
                  <a:lnTo>
                    <a:pt x="1760" y="1493"/>
                  </a:lnTo>
                  <a:lnTo>
                    <a:pt x="1814" y="1528"/>
                  </a:lnTo>
                  <a:lnTo>
                    <a:pt x="1865" y="1562"/>
                  </a:lnTo>
                  <a:lnTo>
                    <a:pt x="1913" y="1597"/>
                  </a:lnTo>
                  <a:lnTo>
                    <a:pt x="1941" y="1618"/>
                  </a:lnTo>
                  <a:lnTo>
                    <a:pt x="1968" y="1641"/>
                  </a:lnTo>
                  <a:lnTo>
                    <a:pt x="1996" y="1664"/>
                  </a:lnTo>
                  <a:lnTo>
                    <a:pt x="2022" y="1688"/>
                  </a:lnTo>
                  <a:lnTo>
                    <a:pt x="2048" y="1713"/>
                  </a:lnTo>
                  <a:lnTo>
                    <a:pt x="2071" y="1739"/>
                  </a:lnTo>
                  <a:lnTo>
                    <a:pt x="2081" y="1751"/>
                  </a:lnTo>
                  <a:lnTo>
                    <a:pt x="2092" y="1765"/>
                  </a:lnTo>
                  <a:lnTo>
                    <a:pt x="2101" y="1778"/>
                  </a:lnTo>
                  <a:lnTo>
                    <a:pt x="2109" y="1793"/>
                  </a:lnTo>
                  <a:lnTo>
                    <a:pt x="2115" y="1809"/>
                  </a:lnTo>
                  <a:lnTo>
                    <a:pt x="2122" y="1825"/>
                  </a:lnTo>
                  <a:lnTo>
                    <a:pt x="2126" y="1841"/>
                  </a:lnTo>
                  <a:lnTo>
                    <a:pt x="2129" y="1857"/>
                  </a:lnTo>
                  <a:lnTo>
                    <a:pt x="2131" y="1871"/>
                  </a:lnTo>
                  <a:lnTo>
                    <a:pt x="2132" y="1886"/>
                  </a:lnTo>
                  <a:lnTo>
                    <a:pt x="2132" y="1899"/>
                  </a:lnTo>
                  <a:lnTo>
                    <a:pt x="2132" y="1913"/>
                  </a:lnTo>
                  <a:lnTo>
                    <a:pt x="2130" y="1935"/>
                  </a:lnTo>
                  <a:lnTo>
                    <a:pt x="2127" y="1955"/>
                  </a:lnTo>
                  <a:lnTo>
                    <a:pt x="2124" y="1970"/>
                  </a:lnTo>
                  <a:lnTo>
                    <a:pt x="2121" y="1981"/>
                  </a:lnTo>
                  <a:lnTo>
                    <a:pt x="2112" y="2008"/>
                  </a:lnTo>
                  <a:lnTo>
                    <a:pt x="2104" y="2033"/>
                  </a:lnTo>
                  <a:lnTo>
                    <a:pt x="2094" y="2058"/>
                  </a:lnTo>
                  <a:lnTo>
                    <a:pt x="2082" y="2082"/>
                  </a:lnTo>
                  <a:lnTo>
                    <a:pt x="2070" y="2104"/>
                  </a:lnTo>
                  <a:lnTo>
                    <a:pt x="2056" y="2124"/>
                  </a:lnTo>
                  <a:lnTo>
                    <a:pt x="2041" y="2144"/>
                  </a:lnTo>
                  <a:lnTo>
                    <a:pt x="2025" y="2162"/>
                  </a:lnTo>
                  <a:lnTo>
                    <a:pt x="2009" y="2180"/>
                  </a:lnTo>
                  <a:lnTo>
                    <a:pt x="1990" y="2197"/>
                  </a:lnTo>
                  <a:lnTo>
                    <a:pt x="1972" y="2212"/>
                  </a:lnTo>
                  <a:lnTo>
                    <a:pt x="1952" y="2225"/>
                  </a:lnTo>
                  <a:lnTo>
                    <a:pt x="1930" y="2239"/>
                  </a:lnTo>
                  <a:lnTo>
                    <a:pt x="1908" y="2251"/>
                  </a:lnTo>
                  <a:lnTo>
                    <a:pt x="1886" y="2263"/>
                  </a:lnTo>
                  <a:lnTo>
                    <a:pt x="1862" y="2273"/>
                  </a:lnTo>
                  <a:lnTo>
                    <a:pt x="1838" y="2282"/>
                  </a:lnTo>
                  <a:lnTo>
                    <a:pt x="1812" y="2292"/>
                  </a:lnTo>
                  <a:lnTo>
                    <a:pt x="1786" y="2300"/>
                  </a:lnTo>
                  <a:lnTo>
                    <a:pt x="1759" y="2307"/>
                  </a:lnTo>
                  <a:lnTo>
                    <a:pt x="1731" y="2313"/>
                  </a:lnTo>
                  <a:lnTo>
                    <a:pt x="1702" y="2318"/>
                  </a:lnTo>
                  <a:lnTo>
                    <a:pt x="1673" y="2324"/>
                  </a:lnTo>
                  <a:lnTo>
                    <a:pt x="1643" y="2329"/>
                  </a:lnTo>
                  <a:lnTo>
                    <a:pt x="1613" y="2332"/>
                  </a:lnTo>
                  <a:lnTo>
                    <a:pt x="1581" y="2335"/>
                  </a:lnTo>
                  <a:lnTo>
                    <a:pt x="1550" y="2338"/>
                  </a:lnTo>
                  <a:lnTo>
                    <a:pt x="1517" y="2340"/>
                  </a:lnTo>
                  <a:lnTo>
                    <a:pt x="1451" y="2343"/>
                  </a:lnTo>
                  <a:lnTo>
                    <a:pt x="1383" y="2344"/>
                  </a:lnTo>
                  <a:lnTo>
                    <a:pt x="1322" y="2344"/>
                  </a:lnTo>
                  <a:lnTo>
                    <a:pt x="1262" y="2343"/>
                  </a:lnTo>
                  <a:lnTo>
                    <a:pt x="1203" y="2342"/>
                  </a:lnTo>
                  <a:lnTo>
                    <a:pt x="1146" y="2340"/>
                  </a:lnTo>
                  <a:lnTo>
                    <a:pt x="1091" y="2337"/>
                  </a:lnTo>
                  <a:lnTo>
                    <a:pt x="1036" y="2334"/>
                  </a:lnTo>
                  <a:lnTo>
                    <a:pt x="984" y="2330"/>
                  </a:lnTo>
                  <a:lnTo>
                    <a:pt x="933" y="2325"/>
                  </a:lnTo>
                  <a:lnTo>
                    <a:pt x="836" y="2314"/>
                  </a:lnTo>
                  <a:lnTo>
                    <a:pt x="747" y="2303"/>
                  </a:lnTo>
                  <a:lnTo>
                    <a:pt x="664" y="2292"/>
                  </a:lnTo>
                  <a:lnTo>
                    <a:pt x="589" y="2278"/>
                  </a:lnTo>
                  <a:lnTo>
                    <a:pt x="522" y="2266"/>
                  </a:lnTo>
                  <a:lnTo>
                    <a:pt x="463" y="2253"/>
                  </a:lnTo>
                  <a:lnTo>
                    <a:pt x="411" y="2241"/>
                  </a:lnTo>
                  <a:lnTo>
                    <a:pt x="368" y="2231"/>
                  </a:lnTo>
                  <a:lnTo>
                    <a:pt x="335" y="2222"/>
                  </a:lnTo>
                  <a:lnTo>
                    <a:pt x="311" y="2215"/>
                  </a:lnTo>
                  <a:lnTo>
                    <a:pt x="296" y="2211"/>
                  </a:lnTo>
                  <a:lnTo>
                    <a:pt x="291" y="2209"/>
                  </a:lnTo>
                  <a:lnTo>
                    <a:pt x="0" y="3408"/>
                  </a:lnTo>
                  <a:lnTo>
                    <a:pt x="8" y="3410"/>
                  </a:lnTo>
                  <a:lnTo>
                    <a:pt x="33" y="3415"/>
                  </a:lnTo>
                  <a:lnTo>
                    <a:pt x="74" y="3422"/>
                  </a:lnTo>
                  <a:lnTo>
                    <a:pt x="131" y="3433"/>
                  </a:lnTo>
                  <a:lnTo>
                    <a:pt x="203" y="3445"/>
                  </a:lnTo>
                  <a:lnTo>
                    <a:pt x="289" y="3458"/>
                  </a:lnTo>
                  <a:lnTo>
                    <a:pt x="388" y="3471"/>
                  </a:lnTo>
                  <a:lnTo>
                    <a:pt x="501" y="3484"/>
                  </a:lnTo>
                  <a:lnTo>
                    <a:pt x="562" y="3491"/>
                  </a:lnTo>
                  <a:lnTo>
                    <a:pt x="626" y="3497"/>
                  </a:lnTo>
                  <a:lnTo>
                    <a:pt x="693" y="3503"/>
                  </a:lnTo>
                  <a:lnTo>
                    <a:pt x="763" y="3508"/>
                  </a:lnTo>
                  <a:lnTo>
                    <a:pt x="836" y="3513"/>
                  </a:lnTo>
                  <a:lnTo>
                    <a:pt x="911" y="3517"/>
                  </a:lnTo>
                  <a:lnTo>
                    <a:pt x="989" y="3522"/>
                  </a:lnTo>
                  <a:lnTo>
                    <a:pt x="1070" y="3525"/>
                  </a:lnTo>
                  <a:lnTo>
                    <a:pt x="1154" y="3528"/>
                  </a:lnTo>
                  <a:lnTo>
                    <a:pt x="1239" y="3529"/>
                  </a:lnTo>
                  <a:lnTo>
                    <a:pt x="1328" y="3530"/>
                  </a:lnTo>
                  <a:lnTo>
                    <a:pt x="1418" y="3529"/>
                  </a:lnTo>
                  <a:lnTo>
                    <a:pt x="1510" y="3528"/>
                  </a:lnTo>
                  <a:lnTo>
                    <a:pt x="1605" y="3526"/>
                  </a:lnTo>
                  <a:lnTo>
                    <a:pt x="1702" y="3522"/>
                  </a:lnTo>
                  <a:lnTo>
                    <a:pt x="1801" y="3517"/>
                  </a:lnTo>
                  <a:lnTo>
                    <a:pt x="1931" y="3507"/>
                  </a:lnTo>
                  <a:lnTo>
                    <a:pt x="2057" y="3493"/>
                  </a:lnTo>
                  <a:lnTo>
                    <a:pt x="2179" y="3474"/>
                  </a:lnTo>
                  <a:lnTo>
                    <a:pt x="2297" y="3450"/>
                  </a:lnTo>
                  <a:lnTo>
                    <a:pt x="2409" y="3422"/>
                  </a:lnTo>
                  <a:lnTo>
                    <a:pt x="2518" y="3389"/>
                  </a:lnTo>
                  <a:lnTo>
                    <a:pt x="2623" y="3353"/>
                  </a:lnTo>
                  <a:lnTo>
                    <a:pt x="2723" y="3314"/>
                  </a:lnTo>
                  <a:lnTo>
                    <a:pt x="2819" y="3271"/>
                  </a:lnTo>
                  <a:lnTo>
                    <a:pt x="2911" y="3223"/>
                  </a:lnTo>
                  <a:lnTo>
                    <a:pt x="2998" y="3173"/>
                  </a:lnTo>
                  <a:lnTo>
                    <a:pt x="3082" y="3119"/>
                  </a:lnTo>
                  <a:lnTo>
                    <a:pt x="3162" y="3062"/>
                  </a:lnTo>
                  <a:lnTo>
                    <a:pt x="3237" y="3003"/>
                  </a:lnTo>
                  <a:lnTo>
                    <a:pt x="3308" y="2941"/>
                  </a:lnTo>
                  <a:lnTo>
                    <a:pt x="3375" y="2876"/>
                  </a:lnTo>
                  <a:lnTo>
                    <a:pt x="3438" y="2809"/>
                  </a:lnTo>
                  <a:lnTo>
                    <a:pt x="3497" y="2740"/>
                  </a:lnTo>
                  <a:lnTo>
                    <a:pt x="3552" y="2669"/>
                  </a:lnTo>
                  <a:lnTo>
                    <a:pt x="3604" y="2596"/>
                  </a:lnTo>
                  <a:lnTo>
                    <a:pt x="3650" y="2521"/>
                  </a:lnTo>
                  <a:lnTo>
                    <a:pt x="3694" y="2445"/>
                  </a:lnTo>
                  <a:lnTo>
                    <a:pt x="3733" y="2367"/>
                  </a:lnTo>
                  <a:lnTo>
                    <a:pt x="3768" y="2288"/>
                  </a:lnTo>
                  <a:lnTo>
                    <a:pt x="3799" y="2209"/>
                  </a:lnTo>
                  <a:lnTo>
                    <a:pt x="3827" y="2128"/>
                  </a:lnTo>
                  <a:lnTo>
                    <a:pt x="3851" y="2047"/>
                  </a:lnTo>
                  <a:lnTo>
                    <a:pt x="3871" y="1965"/>
                  </a:lnTo>
                  <a:lnTo>
                    <a:pt x="3886" y="1883"/>
                  </a:lnTo>
                  <a:lnTo>
                    <a:pt x="3899" y="1800"/>
                  </a:lnTo>
                  <a:lnTo>
                    <a:pt x="3907" y="1717"/>
                  </a:lnTo>
                  <a:lnTo>
                    <a:pt x="3912" y="1635"/>
                  </a:lnTo>
                  <a:lnTo>
                    <a:pt x="3912" y="1583"/>
                  </a:lnTo>
                  <a:lnTo>
                    <a:pt x="3910" y="1533"/>
                  </a:lnTo>
                  <a:lnTo>
                    <a:pt x="3905" y="1483"/>
                  </a:lnTo>
                  <a:lnTo>
                    <a:pt x="3898" y="1434"/>
                  </a:lnTo>
                  <a:lnTo>
                    <a:pt x="3887" y="1387"/>
                  </a:lnTo>
                  <a:lnTo>
                    <a:pt x="3875" y="1340"/>
                  </a:lnTo>
                  <a:lnTo>
                    <a:pt x="3860" y="1295"/>
                  </a:lnTo>
                  <a:lnTo>
                    <a:pt x="3844" y="1251"/>
                  </a:lnTo>
                  <a:lnTo>
                    <a:pt x="3825" y="1206"/>
                  </a:lnTo>
                  <a:lnTo>
                    <a:pt x="3805" y="1164"/>
                  </a:lnTo>
                  <a:lnTo>
                    <a:pt x="3782" y="1122"/>
                  </a:lnTo>
                  <a:lnTo>
                    <a:pt x="3757" y="1080"/>
                  </a:lnTo>
                  <a:lnTo>
                    <a:pt x="3730" y="1040"/>
                  </a:lnTo>
                  <a:lnTo>
                    <a:pt x="3702" y="1000"/>
                  </a:lnTo>
                  <a:lnTo>
                    <a:pt x="3672" y="961"/>
                  </a:lnTo>
                  <a:lnTo>
                    <a:pt x="3641" y="922"/>
                  </a:lnTo>
                  <a:lnTo>
                    <a:pt x="3608" y="885"/>
                  </a:lnTo>
                  <a:lnTo>
                    <a:pt x="3575" y="848"/>
                  </a:lnTo>
                  <a:lnTo>
                    <a:pt x="3539" y="812"/>
                  </a:lnTo>
                  <a:lnTo>
                    <a:pt x="3502" y="776"/>
                  </a:lnTo>
                  <a:lnTo>
                    <a:pt x="3465" y="740"/>
                  </a:lnTo>
                  <a:lnTo>
                    <a:pt x="3427" y="706"/>
                  </a:lnTo>
                  <a:lnTo>
                    <a:pt x="3387" y="672"/>
                  </a:lnTo>
                  <a:lnTo>
                    <a:pt x="3347" y="639"/>
                  </a:lnTo>
                  <a:lnTo>
                    <a:pt x="3307" y="606"/>
                  </a:lnTo>
                  <a:lnTo>
                    <a:pt x="3265" y="573"/>
                  </a:lnTo>
                  <a:lnTo>
                    <a:pt x="3223" y="541"/>
                  </a:lnTo>
                  <a:lnTo>
                    <a:pt x="3180" y="509"/>
                  </a:lnTo>
                  <a:lnTo>
                    <a:pt x="3096" y="447"/>
                  </a:lnTo>
                  <a:lnTo>
                    <a:pt x="3009" y="38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BE50655E-776B-480B-95A2-5DB740D7F2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01808" y="6094540"/>
              <a:ext cx="195150" cy="285091"/>
            </a:xfrm>
            <a:custGeom>
              <a:avLst/>
              <a:gdLst>
                <a:gd name="T0" fmla="*/ 2165 w 2638"/>
                <a:gd name="T1" fmla="*/ 2636 h 3868"/>
                <a:gd name="T2" fmla="*/ 2059 w 2638"/>
                <a:gd name="T3" fmla="*/ 2630 h 3868"/>
                <a:gd name="T4" fmla="*/ 1961 w 2638"/>
                <a:gd name="T5" fmla="*/ 2615 h 3868"/>
                <a:gd name="T6" fmla="*/ 1880 w 2638"/>
                <a:gd name="T7" fmla="*/ 2590 h 3868"/>
                <a:gd name="T8" fmla="*/ 1835 w 2638"/>
                <a:gd name="T9" fmla="*/ 2569 h 3868"/>
                <a:gd name="T10" fmla="*/ 1808 w 2638"/>
                <a:gd name="T11" fmla="*/ 2549 h 3868"/>
                <a:gd name="T12" fmla="*/ 1786 w 2638"/>
                <a:gd name="T13" fmla="*/ 2526 h 3868"/>
                <a:gd name="T14" fmla="*/ 1762 w 2638"/>
                <a:gd name="T15" fmla="*/ 2490 h 3868"/>
                <a:gd name="T16" fmla="*/ 1744 w 2638"/>
                <a:gd name="T17" fmla="*/ 2451 h 3868"/>
                <a:gd name="T18" fmla="*/ 1732 w 2638"/>
                <a:gd name="T19" fmla="*/ 2407 h 3868"/>
                <a:gd name="T20" fmla="*/ 1724 w 2638"/>
                <a:gd name="T21" fmla="*/ 2362 h 3868"/>
                <a:gd name="T22" fmla="*/ 1721 w 2638"/>
                <a:gd name="T23" fmla="*/ 2267 h 3868"/>
                <a:gd name="T24" fmla="*/ 1730 w 2638"/>
                <a:gd name="T25" fmla="*/ 2172 h 3868"/>
                <a:gd name="T26" fmla="*/ 2204 w 2638"/>
                <a:gd name="T27" fmla="*/ 0 h 3868"/>
                <a:gd name="T28" fmla="*/ 1895 w 2638"/>
                <a:gd name="T29" fmla="*/ 17 h 3868"/>
                <a:gd name="T30" fmla="*/ 1582 w 2638"/>
                <a:gd name="T31" fmla="*/ 33 h 3868"/>
                <a:gd name="T32" fmla="*/ 1267 w 2638"/>
                <a:gd name="T33" fmla="*/ 52 h 3868"/>
                <a:gd name="T34" fmla="*/ 950 w 2638"/>
                <a:gd name="T35" fmla="*/ 71 h 3868"/>
                <a:gd name="T36" fmla="*/ 633 w 2638"/>
                <a:gd name="T37" fmla="*/ 93 h 3868"/>
                <a:gd name="T38" fmla="*/ 474 w 2638"/>
                <a:gd name="T39" fmla="*/ 336 h 3868"/>
                <a:gd name="T40" fmla="*/ 391 w 2638"/>
                <a:gd name="T41" fmla="*/ 698 h 3868"/>
                <a:gd name="T42" fmla="*/ 306 w 2638"/>
                <a:gd name="T43" fmla="*/ 1068 h 3868"/>
                <a:gd name="T44" fmla="*/ 219 w 2638"/>
                <a:gd name="T45" fmla="*/ 1444 h 3868"/>
                <a:gd name="T46" fmla="*/ 132 w 2638"/>
                <a:gd name="T47" fmla="*/ 1823 h 3868"/>
                <a:gd name="T48" fmla="*/ 64 w 2638"/>
                <a:gd name="T49" fmla="*/ 2120 h 3868"/>
                <a:gd name="T50" fmla="*/ 38 w 2638"/>
                <a:gd name="T51" fmla="*/ 2255 h 3868"/>
                <a:gd name="T52" fmla="*/ 18 w 2638"/>
                <a:gd name="T53" fmla="*/ 2389 h 3868"/>
                <a:gd name="T54" fmla="*/ 5 w 2638"/>
                <a:gd name="T55" fmla="*/ 2524 h 3868"/>
                <a:gd name="T56" fmla="*/ 0 w 2638"/>
                <a:gd name="T57" fmla="*/ 2659 h 3868"/>
                <a:gd name="T58" fmla="*/ 5 w 2638"/>
                <a:gd name="T59" fmla="*/ 2793 h 3868"/>
                <a:gd name="T60" fmla="*/ 21 w 2638"/>
                <a:gd name="T61" fmla="*/ 2924 h 3868"/>
                <a:gd name="T62" fmla="*/ 48 w 2638"/>
                <a:gd name="T63" fmla="*/ 3052 h 3868"/>
                <a:gd name="T64" fmla="*/ 87 w 2638"/>
                <a:gd name="T65" fmla="*/ 3176 h 3868"/>
                <a:gd name="T66" fmla="*/ 141 w 2638"/>
                <a:gd name="T67" fmla="*/ 3295 h 3868"/>
                <a:gd name="T68" fmla="*/ 210 w 2638"/>
                <a:gd name="T69" fmla="*/ 3407 h 3868"/>
                <a:gd name="T70" fmla="*/ 274 w 2638"/>
                <a:gd name="T71" fmla="*/ 3488 h 3868"/>
                <a:gd name="T72" fmla="*/ 336 w 2638"/>
                <a:gd name="T73" fmla="*/ 3552 h 3868"/>
                <a:gd name="T74" fmla="*/ 406 w 2638"/>
                <a:gd name="T75" fmla="*/ 3612 h 3868"/>
                <a:gd name="T76" fmla="*/ 483 w 2638"/>
                <a:gd name="T77" fmla="*/ 3667 h 3868"/>
                <a:gd name="T78" fmla="*/ 568 w 2638"/>
                <a:gd name="T79" fmla="*/ 3717 h 3868"/>
                <a:gd name="T80" fmla="*/ 662 w 2638"/>
                <a:gd name="T81" fmla="*/ 3760 h 3868"/>
                <a:gd name="T82" fmla="*/ 766 w 2638"/>
                <a:gd name="T83" fmla="*/ 3798 h 3868"/>
                <a:gd name="T84" fmla="*/ 879 w 2638"/>
                <a:gd name="T85" fmla="*/ 3827 h 3868"/>
                <a:gd name="T86" fmla="*/ 1001 w 2638"/>
                <a:gd name="T87" fmla="*/ 3849 h 3868"/>
                <a:gd name="T88" fmla="*/ 1134 w 2638"/>
                <a:gd name="T89" fmla="*/ 3863 h 3868"/>
                <a:gd name="T90" fmla="*/ 1278 w 2638"/>
                <a:gd name="T91" fmla="*/ 3868 h 3868"/>
                <a:gd name="T92" fmla="*/ 1475 w 2638"/>
                <a:gd name="T93" fmla="*/ 3865 h 3868"/>
                <a:gd name="T94" fmla="*/ 1684 w 2638"/>
                <a:gd name="T95" fmla="*/ 3854 h 3868"/>
                <a:gd name="T96" fmla="*/ 1899 w 2638"/>
                <a:gd name="T97" fmla="*/ 3834 h 3868"/>
                <a:gd name="T98" fmla="*/ 2118 w 2638"/>
                <a:gd name="T99" fmla="*/ 3802 h 3868"/>
                <a:gd name="T100" fmla="*/ 2336 w 2638"/>
                <a:gd name="T101" fmla="*/ 3754 h 3868"/>
                <a:gd name="T102" fmla="*/ 2592 w 2638"/>
                <a:gd name="T103" fmla="*/ 2620 h 3868"/>
                <a:gd name="T104" fmla="*/ 2448 w 2638"/>
                <a:gd name="T105" fmla="*/ 2631 h 3868"/>
                <a:gd name="T106" fmla="*/ 2294 w 2638"/>
                <a:gd name="T107" fmla="*/ 2637 h 3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8" h="3868">
                  <a:moveTo>
                    <a:pt x="2241" y="2637"/>
                  </a:moveTo>
                  <a:lnTo>
                    <a:pt x="2202" y="2637"/>
                  </a:lnTo>
                  <a:lnTo>
                    <a:pt x="2165" y="2636"/>
                  </a:lnTo>
                  <a:lnTo>
                    <a:pt x="2129" y="2635"/>
                  </a:lnTo>
                  <a:lnTo>
                    <a:pt x="2093" y="2633"/>
                  </a:lnTo>
                  <a:lnTo>
                    <a:pt x="2059" y="2630"/>
                  </a:lnTo>
                  <a:lnTo>
                    <a:pt x="2024" y="2625"/>
                  </a:lnTo>
                  <a:lnTo>
                    <a:pt x="1992" y="2620"/>
                  </a:lnTo>
                  <a:lnTo>
                    <a:pt x="1961" y="2615"/>
                  </a:lnTo>
                  <a:lnTo>
                    <a:pt x="1932" y="2608"/>
                  </a:lnTo>
                  <a:lnTo>
                    <a:pt x="1905" y="2600"/>
                  </a:lnTo>
                  <a:lnTo>
                    <a:pt x="1880" y="2590"/>
                  </a:lnTo>
                  <a:lnTo>
                    <a:pt x="1856" y="2580"/>
                  </a:lnTo>
                  <a:lnTo>
                    <a:pt x="1845" y="2575"/>
                  </a:lnTo>
                  <a:lnTo>
                    <a:pt x="1835" y="2569"/>
                  </a:lnTo>
                  <a:lnTo>
                    <a:pt x="1826" y="2562"/>
                  </a:lnTo>
                  <a:lnTo>
                    <a:pt x="1816" y="2556"/>
                  </a:lnTo>
                  <a:lnTo>
                    <a:pt x="1808" y="2549"/>
                  </a:lnTo>
                  <a:lnTo>
                    <a:pt x="1800" y="2542"/>
                  </a:lnTo>
                  <a:lnTo>
                    <a:pt x="1794" y="2533"/>
                  </a:lnTo>
                  <a:lnTo>
                    <a:pt x="1786" y="2526"/>
                  </a:lnTo>
                  <a:lnTo>
                    <a:pt x="1778" y="2515"/>
                  </a:lnTo>
                  <a:lnTo>
                    <a:pt x="1770" y="2502"/>
                  </a:lnTo>
                  <a:lnTo>
                    <a:pt x="1762" y="2490"/>
                  </a:lnTo>
                  <a:lnTo>
                    <a:pt x="1755" y="2478"/>
                  </a:lnTo>
                  <a:lnTo>
                    <a:pt x="1749" y="2464"/>
                  </a:lnTo>
                  <a:lnTo>
                    <a:pt x="1744" y="2451"/>
                  </a:lnTo>
                  <a:lnTo>
                    <a:pt x="1739" y="2437"/>
                  </a:lnTo>
                  <a:lnTo>
                    <a:pt x="1735" y="2423"/>
                  </a:lnTo>
                  <a:lnTo>
                    <a:pt x="1732" y="2407"/>
                  </a:lnTo>
                  <a:lnTo>
                    <a:pt x="1728" y="2393"/>
                  </a:lnTo>
                  <a:lnTo>
                    <a:pt x="1725" y="2378"/>
                  </a:lnTo>
                  <a:lnTo>
                    <a:pt x="1724" y="2362"/>
                  </a:lnTo>
                  <a:lnTo>
                    <a:pt x="1721" y="2331"/>
                  </a:lnTo>
                  <a:lnTo>
                    <a:pt x="1720" y="2299"/>
                  </a:lnTo>
                  <a:lnTo>
                    <a:pt x="1721" y="2267"/>
                  </a:lnTo>
                  <a:lnTo>
                    <a:pt x="1723" y="2235"/>
                  </a:lnTo>
                  <a:lnTo>
                    <a:pt x="1726" y="2203"/>
                  </a:lnTo>
                  <a:lnTo>
                    <a:pt x="1730" y="2172"/>
                  </a:lnTo>
                  <a:lnTo>
                    <a:pt x="1740" y="2112"/>
                  </a:lnTo>
                  <a:lnTo>
                    <a:pt x="1749" y="2057"/>
                  </a:lnTo>
                  <a:lnTo>
                    <a:pt x="2204" y="0"/>
                  </a:lnTo>
                  <a:lnTo>
                    <a:pt x="2102" y="5"/>
                  </a:lnTo>
                  <a:lnTo>
                    <a:pt x="1999" y="11"/>
                  </a:lnTo>
                  <a:lnTo>
                    <a:pt x="1895" y="17"/>
                  </a:lnTo>
                  <a:lnTo>
                    <a:pt x="1790" y="22"/>
                  </a:lnTo>
                  <a:lnTo>
                    <a:pt x="1687" y="28"/>
                  </a:lnTo>
                  <a:lnTo>
                    <a:pt x="1582" y="33"/>
                  </a:lnTo>
                  <a:lnTo>
                    <a:pt x="1477" y="39"/>
                  </a:lnTo>
                  <a:lnTo>
                    <a:pt x="1372" y="46"/>
                  </a:lnTo>
                  <a:lnTo>
                    <a:pt x="1267" y="52"/>
                  </a:lnTo>
                  <a:lnTo>
                    <a:pt x="1161" y="59"/>
                  </a:lnTo>
                  <a:lnTo>
                    <a:pt x="1056" y="65"/>
                  </a:lnTo>
                  <a:lnTo>
                    <a:pt x="950" y="71"/>
                  </a:lnTo>
                  <a:lnTo>
                    <a:pt x="845" y="79"/>
                  </a:lnTo>
                  <a:lnTo>
                    <a:pt x="739" y="86"/>
                  </a:lnTo>
                  <a:lnTo>
                    <a:pt x="633" y="93"/>
                  </a:lnTo>
                  <a:lnTo>
                    <a:pt x="528" y="100"/>
                  </a:lnTo>
                  <a:lnTo>
                    <a:pt x="501" y="218"/>
                  </a:lnTo>
                  <a:lnTo>
                    <a:pt x="474" y="336"/>
                  </a:lnTo>
                  <a:lnTo>
                    <a:pt x="446" y="456"/>
                  </a:lnTo>
                  <a:lnTo>
                    <a:pt x="419" y="576"/>
                  </a:lnTo>
                  <a:lnTo>
                    <a:pt x="391" y="698"/>
                  </a:lnTo>
                  <a:lnTo>
                    <a:pt x="362" y="820"/>
                  </a:lnTo>
                  <a:lnTo>
                    <a:pt x="334" y="944"/>
                  </a:lnTo>
                  <a:lnTo>
                    <a:pt x="306" y="1068"/>
                  </a:lnTo>
                  <a:lnTo>
                    <a:pt x="277" y="1193"/>
                  </a:lnTo>
                  <a:lnTo>
                    <a:pt x="248" y="1318"/>
                  </a:lnTo>
                  <a:lnTo>
                    <a:pt x="219" y="1444"/>
                  </a:lnTo>
                  <a:lnTo>
                    <a:pt x="190" y="1570"/>
                  </a:lnTo>
                  <a:lnTo>
                    <a:pt x="161" y="1696"/>
                  </a:lnTo>
                  <a:lnTo>
                    <a:pt x="132" y="1823"/>
                  </a:lnTo>
                  <a:lnTo>
                    <a:pt x="103" y="1950"/>
                  </a:lnTo>
                  <a:lnTo>
                    <a:pt x="73" y="2077"/>
                  </a:lnTo>
                  <a:lnTo>
                    <a:pt x="64" y="2120"/>
                  </a:lnTo>
                  <a:lnTo>
                    <a:pt x="55" y="2165"/>
                  </a:lnTo>
                  <a:lnTo>
                    <a:pt x="47" y="2209"/>
                  </a:lnTo>
                  <a:lnTo>
                    <a:pt x="38" y="2255"/>
                  </a:lnTo>
                  <a:lnTo>
                    <a:pt x="31" y="2299"/>
                  </a:lnTo>
                  <a:lnTo>
                    <a:pt x="24" y="2344"/>
                  </a:lnTo>
                  <a:lnTo>
                    <a:pt x="18" y="2389"/>
                  </a:lnTo>
                  <a:lnTo>
                    <a:pt x="12" y="2434"/>
                  </a:lnTo>
                  <a:lnTo>
                    <a:pt x="8" y="2480"/>
                  </a:lnTo>
                  <a:lnTo>
                    <a:pt x="5" y="2524"/>
                  </a:lnTo>
                  <a:lnTo>
                    <a:pt x="2" y="2570"/>
                  </a:lnTo>
                  <a:lnTo>
                    <a:pt x="1" y="2614"/>
                  </a:lnTo>
                  <a:lnTo>
                    <a:pt x="0" y="2659"/>
                  </a:lnTo>
                  <a:lnTo>
                    <a:pt x="1" y="2704"/>
                  </a:lnTo>
                  <a:lnTo>
                    <a:pt x="2" y="2748"/>
                  </a:lnTo>
                  <a:lnTo>
                    <a:pt x="5" y="2793"/>
                  </a:lnTo>
                  <a:lnTo>
                    <a:pt x="9" y="2837"/>
                  </a:lnTo>
                  <a:lnTo>
                    <a:pt x="13" y="2880"/>
                  </a:lnTo>
                  <a:lnTo>
                    <a:pt x="21" y="2924"/>
                  </a:lnTo>
                  <a:lnTo>
                    <a:pt x="28" y="2967"/>
                  </a:lnTo>
                  <a:lnTo>
                    <a:pt x="37" y="3010"/>
                  </a:lnTo>
                  <a:lnTo>
                    <a:pt x="48" y="3052"/>
                  </a:lnTo>
                  <a:lnTo>
                    <a:pt x="59" y="3093"/>
                  </a:lnTo>
                  <a:lnTo>
                    <a:pt x="72" y="3135"/>
                  </a:lnTo>
                  <a:lnTo>
                    <a:pt x="87" y="3176"/>
                  </a:lnTo>
                  <a:lnTo>
                    <a:pt x="103" y="3216"/>
                  </a:lnTo>
                  <a:lnTo>
                    <a:pt x="121" y="3255"/>
                  </a:lnTo>
                  <a:lnTo>
                    <a:pt x="141" y="3295"/>
                  </a:lnTo>
                  <a:lnTo>
                    <a:pt x="162" y="3333"/>
                  </a:lnTo>
                  <a:lnTo>
                    <a:pt x="185" y="3370"/>
                  </a:lnTo>
                  <a:lnTo>
                    <a:pt x="210" y="3407"/>
                  </a:lnTo>
                  <a:lnTo>
                    <a:pt x="236" y="3443"/>
                  </a:lnTo>
                  <a:lnTo>
                    <a:pt x="255" y="3466"/>
                  </a:lnTo>
                  <a:lnTo>
                    <a:pt x="274" y="3488"/>
                  </a:lnTo>
                  <a:lnTo>
                    <a:pt x="294" y="3509"/>
                  </a:lnTo>
                  <a:lnTo>
                    <a:pt x="315" y="3531"/>
                  </a:lnTo>
                  <a:lnTo>
                    <a:pt x="336" y="3552"/>
                  </a:lnTo>
                  <a:lnTo>
                    <a:pt x="358" y="3572"/>
                  </a:lnTo>
                  <a:lnTo>
                    <a:pt x="382" y="3593"/>
                  </a:lnTo>
                  <a:lnTo>
                    <a:pt x="406" y="3612"/>
                  </a:lnTo>
                  <a:lnTo>
                    <a:pt x="431" y="3631"/>
                  </a:lnTo>
                  <a:lnTo>
                    <a:pt x="456" y="3650"/>
                  </a:lnTo>
                  <a:lnTo>
                    <a:pt x="483" y="3667"/>
                  </a:lnTo>
                  <a:lnTo>
                    <a:pt x="510" y="3684"/>
                  </a:lnTo>
                  <a:lnTo>
                    <a:pt x="539" y="3700"/>
                  </a:lnTo>
                  <a:lnTo>
                    <a:pt x="568" y="3717"/>
                  </a:lnTo>
                  <a:lnTo>
                    <a:pt x="598" y="3732"/>
                  </a:lnTo>
                  <a:lnTo>
                    <a:pt x="630" y="3747"/>
                  </a:lnTo>
                  <a:lnTo>
                    <a:pt x="662" y="3760"/>
                  </a:lnTo>
                  <a:lnTo>
                    <a:pt x="695" y="3774"/>
                  </a:lnTo>
                  <a:lnTo>
                    <a:pt x="730" y="3786"/>
                  </a:lnTo>
                  <a:lnTo>
                    <a:pt x="766" y="3798"/>
                  </a:lnTo>
                  <a:lnTo>
                    <a:pt x="802" y="3808"/>
                  </a:lnTo>
                  <a:lnTo>
                    <a:pt x="839" y="3818"/>
                  </a:lnTo>
                  <a:lnTo>
                    <a:pt x="879" y="3827"/>
                  </a:lnTo>
                  <a:lnTo>
                    <a:pt x="918" y="3836"/>
                  </a:lnTo>
                  <a:lnTo>
                    <a:pt x="958" y="3843"/>
                  </a:lnTo>
                  <a:lnTo>
                    <a:pt x="1001" y="3849"/>
                  </a:lnTo>
                  <a:lnTo>
                    <a:pt x="1044" y="3854"/>
                  </a:lnTo>
                  <a:lnTo>
                    <a:pt x="1089" y="3860"/>
                  </a:lnTo>
                  <a:lnTo>
                    <a:pt x="1134" y="3863"/>
                  </a:lnTo>
                  <a:lnTo>
                    <a:pt x="1181" y="3866"/>
                  </a:lnTo>
                  <a:lnTo>
                    <a:pt x="1228" y="3867"/>
                  </a:lnTo>
                  <a:lnTo>
                    <a:pt x="1278" y="3868"/>
                  </a:lnTo>
                  <a:lnTo>
                    <a:pt x="1342" y="3867"/>
                  </a:lnTo>
                  <a:lnTo>
                    <a:pt x="1408" y="3866"/>
                  </a:lnTo>
                  <a:lnTo>
                    <a:pt x="1475" y="3865"/>
                  </a:lnTo>
                  <a:lnTo>
                    <a:pt x="1543" y="3862"/>
                  </a:lnTo>
                  <a:lnTo>
                    <a:pt x="1612" y="3858"/>
                  </a:lnTo>
                  <a:lnTo>
                    <a:pt x="1684" y="3854"/>
                  </a:lnTo>
                  <a:lnTo>
                    <a:pt x="1754" y="3848"/>
                  </a:lnTo>
                  <a:lnTo>
                    <a:pt x="1827" y="3842"/>
                  </a:lnTo>
                  <a:lnTo>
                    <a:pt x="1899" y="3834"/>
                  </a:lnTo>
                  <a:lnTo>
                    <a:pt x="1972" y="3824"/>
                  </a:lnTo>
                  <a:lnTo>
                    <a:pt x="2045" y="3814"/>
                  </a:lnTo>
                  <a:lnTo>
                    <a:pt x="2118" y="3802"/>
                  </a:lnTo>
                  <a:lnTo>
                    <a:pt x="2191" y="3787"/>
                  </a:lnTo>
                  <a:lnTo>
                    <a:pt x="2263" y="3772"/>
                  </a:lnTo>
                  <a:lnTo>
                    <a:pt x="2336" y="3754"/>
                  </a:lnTo>
                  <a:lnTo>
                    <a:pt x="2407" y="3736"/>
                  </a:lnTo>
                  <a:lnTo>
                    <a:pt x="2638" y="2615"/>
                  </a:lnTo>
                  <a:lnTo>
                    <a:pt x="2592" y="2620"/>
                  </a:lnTo>
                  <a:lnTo>
                    <a:pt x="2545" y="2623"/>
                  </a:lnTo>
                  <a:lnTo>
                    <a:pt x="2496" y="2627"/>
                  </a:lnTo>
                  <a:lnTo>
                    <a:pt x="2448" y="2631"/>
                  </a:lnTo>
                  <a:lnTo>
                    <a:pt x="2398" y="2634"/>
                  </a:lnTo>
                  <a:lnTo>
                    <a:pt x="2346" y="2636"/>
                  </a:lnTo>
                  <a:lnTo>
                    <a:pt x="2294" y="2637"/>
                  </a:lnTo>
                  <a:lnTo>
                    <a:pt x="2241" y="2637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F12F5561-06C2-43F6-88AC-D377CA6DE51F}"/>
              </a:ext>
            </a:extLst>
          </p:cNvPr>
          <p:cNvSpPr/>
          <p:nvPr userDrawn="1"/>
        </p:nvSpPr>
        <p:spPr bwMode="gray">
          <a:xfrm>
            <a:off x="10920536" y="6092825"/>
            <a:ext cx="1271464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2000" indent="-252000" algn="ctr">
              <a:lnSpc>
                <a:spcPct val="110000"/>
              </a:lnSpc>
              <a:buSzPct val="90000"/>
              <a:buBlip>
                <a:blip r:embed="rId3"/>
              </a:buBlip>
            </a:pPr>
            <a:endParaRPr lang="de-DE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744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Three contents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335360" y="3934470"/>
            <a:ext cx="3456384" cy="2158356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367808" y="3934470"/>
            <a:ext cx="3456384" cy="2158355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 bwMode="gray">
          <a:xfrm>
            <a:off x="8400257" y="3934470"/>
            <a:ext cx="3456384" cy="2158356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2E03126C-FA08-4913-8AD2-82A6424CC2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35359" y="1700213"/>
            <a:ext cx="3457179" cy="1728000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de-DE"/>
              <a:t>Click icon </a:t>
            </a:r>
            <a:br>
              <a:rPr lang="de-DE"/>
            </a:br>
            <a:r>
              <a:rPr lang="de-DE"/>
              <a:t>to add picture</a:t>
            </a:r>
            <a:endParaRPr lang="de-DE" dirty="0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78228765-FFB6-4354-8F32-3C210ABC27C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367609" y="1700213"/>
            <a:ext cx="3457179" cy="1728000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de-DE"/>
              <a:t>Click icon </a:t>
            </a:r>
            <a:br>
              <a:rPr lang="de-DE"/>
            </a:br>
            <a:r>
              <a:rPr lang="de-DE"/>
              <a:t>to add picture</a:t>
            </a:r>
            <a:endParaRPr lang="de-DE" dirty="0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EAB845F0-5701-4FC1-A07B-BD53132EAAD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399859" y="1700213"/>
            <a:ext cx="3457179" cy="1728000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de-DE"/>
              <a:t>Click icon </a:t>
            </a:r>
            <a:br>
              <a:rPr lang="de-DE"/>
            </a:br>
            <a:r>
              <a:rPr lang="de-DE"/>
              <a:t>to add picture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CA739D9-E3FD-40FD-968C-9DF2D067F0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22" name="Textplatzhalter 9">
            <a:extLst>
              <a:ext uri="{FF2B5EF4-FFF2-40B4-BE49-F238E27FC236}">
                <a16:creationId xmlns:a16="http://schemas.microsoft.com/office/drawing/2014/main" id="{1B67F7FE-C051-45A5-B638-DF7FBC26D6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de-DE"/>
              <a:t>Optional chapter navigation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76470736-646B-4231-8399-BA465654B6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4" name="Fußzeilenplatzhalter 23">
            <a:extLst>
              <a:ext uri="{FF2B5EF4-FFF2-40B4-BE49-F238E27FC236}">
                <a16:creationId xmlns:a16="http://schemas.microsoft.com/office/drawing/2014/main" id="{9405B5B5-783B-4C3C-B131-C1058E7C4A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25" name="Foliennummernplatzhalter 24">
            <a:extLst>
              <a:ext uri="{FF2B5EF4-FFF2-40B4-BE49-F238E27FC236}">
                <a16:creationId xmlns:a16="http://schemas.microsoft.com/office/drawing/2014/main" id="{0E40B1FB-CAC8-470A-8F5F-C562A9F7C03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6865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>
          <p15:clr>
            <a:srgbClr val="F26B43"/>
          </p15:clr>
        </p15:guide>
        <p15:guide id="2" orient="horz" pos="3838">
          <p15:clr>
            <a:srgbClr val="F26B43"/>
          </p15:clr>
        </p15:guide>
        <p15:guide id="3" pos="211">
          <p15:clr>
            <a:srgbClr val="F26B43"/>
          </p15:clr>
        </p15:guide>
        <p15:guide id="4" pos="2389">
          <p15:clr>
            <a:srgbClr val="F26B43"/>
          </p15:clr>
        </p15:guide>
        <p15:guide id="5" pos="2751">
          <p15:clr>
            <a:srgbClr val="F26B43"/>
          </p15:clr>
        </p15:guide>
        <p15:guide id="6" pos="4929">
          <p15:clr>
            <a:srgbClr val="F26B43"/>
          </p15:clr>
        </p15:guide>
        <p15:guide id="7" pos="5292">
          <p15:clr>
            <a:srgbClr val="F26B43"/>
          </p15:clr>
        </p15:guide>
        <p15:guide id="8" pos="7469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On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35359" y="1700212"/>
            <a:ext cx="11521281" cy="4392613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de-DE"/>
              <a:t>Click icon </a:t>
            </a:r>
            <a:br>
              <a:rPr lang="de-DE"/>
            </a:br>
            <a:r>
              <a:rPr lang="de-DE"/>
              <a:t>to add pictur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E6303D0-AB82-4E8F-B517-A54970485D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3D1FF9B2-AF4D-4310-B5B6-E10BC91951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de-DE"/>
              <a:t>Optional chapter navigation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CE8C3053-92FA-434C-A43D-CF79A8A915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BF001CA-35A7-4E7F-98BA-6CED93BE1FA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EF6C944-C092-4AD0-8666-83ED7EE6E0E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7138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orient="horz" pos="3838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012D2730-03DF-4759-80CC-A985ED7BAE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de-DE"/>
              <a:t>Optional chapter navigation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BA110D97-A01A-48F7-B895-AE4863EEE1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00D718-BCB5-44D2-AE19-E13F3B6C83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34074FE0-6A1A-4C5B-8C34-C635518CFA6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899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1" userDrawn="1">
          <p15:clr>
            <a:srgbClr val="F26B43"/>
          </p15:clr>
        </p15:guide>
        <p15:guide id="2" orient="horz" pos="1071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pos="2389" userDrawn="1">
          <p15:clr>
            <a:srgbClr val="F26B43"/>
          </p15:clr>
        </p15:guide>
        <p15:guide id="6" pos="2751" userDrawn="1">
          <p15:clr>
            <a:srgbClr val="F26B43"/>
          </p15:clr>
        </p15:guide>
        <p15:guide id="7" pos="4929" userDrawn="1">
          <p15:clr>
            <a:srgbClr val="F26B43"/>
          </p15:clr>
        </p15:guide>
        <p15:guide id="8" pos="5292" userDrawn="1">
          <p15:clr>
            <a:srgbClr val="F26B43"/>
          </p15:clr>
        </p15:guide>
        <p15:guide id="9" pos="4021" userDrawn="1">
          <p15:clr>
            <a:srgbClr val="A4A3A4"/>
          </p15:clr>
        </p15:guide>
        <p15:guide id="10" pos="3659" userDrawn="1">
          <p15:clr>
            <a:srgbClr val="A4A3A4"/>
          </p15:clr>
        </p15:guide>
        <p15:guide id="11" pos="2116" userDrawn="1">
          <p15:clr>
            <a:srgbClr val="A4A3A4"/>
          </p15:clr>
        </p15:guide>
        <p15:guide id="12" pos="1753" userDrawn="1">
          <p15:clr>
            <a:srgbClr val="A4A3A4"/>
          </p15:clr>
        </p15:guide>
        <p15:guide id="13" pos="5564" userDrawn="1">
          <p15:clr>
            <a:srgbClr val="A4A3A4"/>
          </p15:clr>
        </p15:guide>
        <p15:guide id="14" pos="5927" userDrawn="1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9">
            <a:extLst>
              <a:ext uri="{FF2B5EF4-FFF2-40B4-BE49-F238E27FC236}">
                <a16:creationId xmlns:a16="http://schemas.microsoft.com/office/drawing/2014/main" id="{63C2AA45-71D4-4E88-A644-FBAA380443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de-DE"/>
              <a:t>Optional chapter navigation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7DB61C4E-59A8-470A-A854-586FE2BEF4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F0A1DD4-DC3A-4497-AA34-5168E573C51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50B1DE8-CA59-44E5-AD8B-DAD8B00D2A3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487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91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pos="3659" userDrawn="1">
          <p15:clr>
            <a:srgbClr val="A4A3A4"/>
          </p15:clr>
        </p15:guide>
        <p15:guide id="5" pos="4021" userDrawn="1">
          <p15:clr>
            <a:srgbClr val="A4A3A4"/>
          </p15:clr>
        </p15:guide>
        <p15:guide id="6" orient="horz" pos="3838" userDrawn="1">
          <p15:clr>
            <a:srgbClr val="F26B43"/>
          </p15:clr>
        </p15:guide>
        <p15:guide id="7" pos="1753" userDrawn="1">
          <p15:clr>
            <a:srgbClr val="A4A3A4"/>
          </p15:clr>
        </p15:guide>
        <p15:guide id="8" pos="2116" userDrawn="1">
          <p15:clr>
            <a:srgbClr val="A4A3A4"/>
          </p15:clr>
        </p15:guide>
        <p15:guide id="9" pos="5564" userDrawn="1">
          <p15:clr>
            <a:srgbClr val="A4A3A4"/>
          </p15:clr>
        </p15:guide>
        <p15:guide id="10" pos="5927" userDrawn="1">
          <p15:clr>
            <a:srgbClr val="A4A3A4"/>
          </p15:clr>
        </p15:guide>
        <p15:guide id="11" pos="2751" userDrawn="1">
          <p15:clr>
            <a:srgbClr val="F26B43"/>
          </p15:clr>
        </p15:guide>
        <p15:guide id="12" pos="2389" userDrawn="1">
          <p15:clr>
            <a:srgbClr val="F26B43"/>
          </p15:clr>
        </p15:guide>
        <p15:guide id="13" pos="4929" userDrawn="1">
          <p15:clr>
            <a:srgbClr val="F26B43"/>
          </p15:clr>
        </p15:guide>
        <p15:guide id="14" pos="5292" userDrawn="1">
          <p15:clr>
            <a:srgbClr val="F26B43"/>
          </p15:clr>
        </p15:guide>
        <p15:guide id="15" orient="horz" pos="1071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9911960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lexible | i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1">
            <a:extLst>
              <a:ext uri="{FF2B5EF4-FFF2-40B4-BE49-F238E27FC236}">
                <a16:creationId xmlns:a16="http://schemas.microsoft.com/office/drawing/2014/main" id="{47796D76-90C2-48FF-BDD7-12A078634C40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367809" y="1052736"/>
            <a:ext cx="6480720" cy="1512168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GB" dirty="0"/>
              <a:t>Click to edit title</a:t>
            </a:r>
          </a:p>
        </p:txBody>
      </p:sp>
      <p:sp>
        <p:nvSpPr>
          <p:cNvPr id="71" name="Bildplatzhalter 70">
            <a:extLst>
              <a:ext uri="{FF2B5EF4-FFF2-40B4-BE49-F238E27FC236}">
                <a16:creationId xmlns:a16="http://schemas.microsoft.com/office/drawing/2014/main" id="{353AA74F-1797-4EC3-8C4F-8A341121A7C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3592216"/>
            <a:ext cx="3163748" cy="3265785"/>
          </a:xfrm>
          <a:custGeom>
            <a:avLst/>
            <a:gdLst>
              <a:gd name="connsiteX0" fmla="*/ 3163748 w 3163748"/>
              <a:gd name="connsiteY0" fmla="*/ 0 h 3265785"/>
              <a:gd name="connsiteX1" fmla="*/ 3019077 w 3163748"/>
              <a:gd name="connsiteY1" fmla="*/ 620795 h 3265785"/>
              <a:gd name="connsiteX2" fmla="*/ 2871995 w 3163748"/>
              <a:gd name="connsiteY2" fmla="*/ 1248836 h 3265785"/>
              <a:gd name="connsiteX3" fmla="*/ 2727323 w 3163748"/>
              <a:gd name="connsiteY3" fmla="*/ 1876878 h 3265785"/>
              <a:gd name="connsiteX4" fmla="*/ 2582652 w 3163748"/>
              <a:gd name="connsiteY4" fmla="*/ 2495257 h 3265785"/>
              <a:gd name="connsiteX5" fmla="*/ 2442803 w 3163748"/>
              <a:gd name="connsiteY5" fmla="*/ 3099142 h 3265785"/>
              <a:gd name="connsiteX6" fmla="*/ 2403461 w 3163748"/>
              <a:gd name="connsiteY6" fmla="*/ 3265785 h 3265785"/>
              <a:gd name="connsiteX7" fmla="*/ 0 w 3163748"/>
              <a:gd name="connsiteY7" fmla="*/ 3265785 h 3265785"/>
              <a:gd name="connsiteX8" fmla="*/ 0 w 3163748"/>
              <a:gd name="connsiteY8" fmla="*/ 917997 h 3265785"/>
              <a:gd name="connsiteX9" fmla="*/ 94307 w 3163748"/>
              <a:gd name="connsiteY9" fmla="*/ 886505 h 3265785"/>
              <a:gd name="connsiteX10" fmla="*/ 333015 w 3163748"/>
              <a:gd name="connsiteY10" fmla="*/ 804376 h 3265785"/>
              <a:gd name="connsiteX11" fmla="*/ 581367 w 3163748"/>
              <a:gd name="connsiteY11" fmla="*/ 724663 h 3265785"/>
              <a:gd name="connsiteX12" fmla="*/ 836952 w 3163748"/>
              <a:gd name="connsiteY12" fmla="*/ 644950 h 3265785"/>
              <a:gd name="connsiteX13" fmla="*/ 1099772 w 3163748"/>
              <a:gd name="connsiteY13" fmla="*/ 565238 h 3265785"/>
              <a:gd name="connsiteX14" fmla="*/ 1369825 w 3163748"/>
              <a:gd name="connsiteY14" fmla="*/ 485525 h 3265785"/>
              <a:gd name="connsiteX15" fmla="*/ 1649523 w 3163748"/>
              <a:gd name="connsiteY15" fmla="*/ 403396 h 3265785"/>
              <a:gd name="connsiteX16" fmla="*/ 1936454 w 3163748"/>
              <a:gd name="connsiteY16" fmla="*/ 323683 h 3265785"/>
              <a:gd name="connsiteX17" fmla="*/ 2230619 w 3163748"/>
              <a:gd name="connsiteY17" fmla="*/ 241554 h 3265785"/>
              <a:gd name="connsiteX18" fmla="*/ 2532017 w 3163748"/>
              <a:gd name="connsiteY18" fmla="*/ 161842 h 3265785"/>
              <a:gd name="connsiteX19" fmla="*/ 2845472 w 3163748"/>
              <a:gd name="connsiteY19" fmla="*/ 79714 h 3265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163748" h="3265785">
                <a:moveTo>
                  <a:pt x="3163748" y="0"/>
                </a:moveTo>
                <a:lnTo>
                  <a:pt x="3019077" y="620795"/>
                </a:lnTo>
                <a:lnTo>
                  <a:pt x="2871995" y="1248836"/>
                </a:lnTo>
                <a:lnTo>
                  <a:pt x="2727323" y="1876878"/>
                </a:lnTo>
                <a:lnTo>
                  <a:pt x="2582652" y="2495257"/>
                </a:lnTo>
                <a:lnTo>
                  <a:pt x="2442803" y="3099142"/>
                </a:lnTo>
                <a:lnTo>
                  <a:pt x="2403461" y="3265785"/>
                </a:lnTo>
                <a:lnTo>
                  <a:pt x="0" y="3265785"/>
                </a:lnTo>
                <a:lnTo>
                  <a:pt x="0" y="917997"/>
                </a:lnTo>
                <a:lnTo>
                  <a:pt x="94307" y="886505"/>
                </a:lnTo>
                <a:lnTo>
                  <a:pt x="333015" y="804376"/>
                </a:lnTo>
                <a:lnTo>
                  <a:pt x="581367" y="724663"/>
                </a:lnTo>
                <a:lnTo>
                  <a:pt x="836952" y="644950"/>
                </a:lnTo>
                <a:lnTo>
                  <a:pt x="1099772" y="565238"/>
                </a:lnTo>
                <a:lnTo>
                  <a:pt x="1369825" y="485525"/>
                </a:lnTo>
                <a:lnTo>
                  <a:pt x="1649523" y="403396"/>
                </a:lnTo>
                <a:lnTo>
                  <a:pt x="1936454" y="323683"/>
                </a:lnTo>
                <a:lnTo>
                  <a:pt x="2230619" y="241554"/>
                </a:lnTo>
                <a:lnTo>
                  <a:pt x="2532017" y="161842"/>
                </a:lnTo>
                <a:lnTo>
                  <a:pt x="2845472" y="7971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69" name="Bildplatzhalter 68">
            <a:extLst>
              <a:ext uri="{FF2B5EF4-FFF2-40B4-BE49-F238E27FC236}">
                <a16:creationId xmlns:a16="http://schemas.microsoft.com/office/drawing/2014/main" id="{0B5CD439-D23D-4477-9584-0A601BD0EA38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0" y="2"/>
            <a:ext cx="3822504" cy="2260495"/>
          </a:xfrm>
          <a:custGeom>
            <a:avLst/>
            <a:gdLst>
              <a:gd name="connsiteX0" fmla="*/ 0 w 3822504"/>
              <a:gd name="connsiteY0" fmla="*/ 0 h 2260495"/>
              <a:gd name="connsiteX1" fmla="*/ 3822504 w 3822504"/>
              <a:gd name="connsiteY1" fmla="*/ 0 h 2260495"/>
              <a:gd name="connsiteX2" fmla="*/ 3801915 w 3822504"/>
              <a:gd name="connsiteY2" fmla="*/ 91643 h 2260495"/>
              <a:gd name="connsiteX3" fmla="*/ 3741670 w 3822504"/>
              <a:gd name="connsiteY3" fmla="*/ 346684 h 2260495"/>
              <a:gd name="connsiteX4" fmla="*/ 3676606 w 3822504"/>
              <a:gd name="connsiteY4" fmla="*/ 620794 h 2260495"/>
              <a:gd name="connsiteX5" fmla="*/ 3609133 w 3822504"/>
              <a:gd name="connsiteY5" fmla="*/ 906822 h 2260495"/>
              <a:gd name="connsiteX6" fmla="*/ 3539249 w 3822504"/>
              <a:gd name="connsiteY6" fmla="*/ 1209535 h 2260495"/>
              <a:gd name="connsiteX7" fmla="*/ 3464546 w 3822504"/>
              <a:gd name="connsiteY7" fmla="*/ 1524166 h 2260495"/>
              <a:gd name="connsiteX8" fmla="*/ 3387433 w 3822504"/>
              <a:gd name="connsiteY8" fmla="*/ 1850714 h 2260495"/>
              <a:gd name="connsiteX9" fmla="*/ 3117538 w 3822504"/>
              <a:gd name="connsiteY9" fmla="*/ 1881700 h 2260495"/>
              <a:gd name="connsiteX10" fmla="*/ 2852463 w 3822504"/>
              <a:gd name="connsiteY10" fmla="*/ 1907920 h 2260495"/>
              <a:gd name="connsiteX11" fmla="*/ 2589798 w 3822504"/>
              <a:gd name="connsiteY11" fmla="*/ 1938906 h 2260495"/>
              <a:gd name="connsiteX12" fmla="*/ 2327133 w 3822504"/>
              <a:gd name="connsiteY12" fmla="*/ 1967509 h 2260495"/>
              <a:gd name="connsiteX13" fmla="*/ 2066877 w 3822504"/>
              <a:gd name="connsiteY13" fmla="*/ 1996111 h 2260495"/>
              <a:gd name="connsiteX14" fmla="*/ 1811441 w 3822504"/>
              <a:gd name="connsiteY14" fmla="*/ 2027098 h 2260495"/>
              <a:gd name="connsiteX15" fmla="*/ 1556004 w 3822504"/>
              <a:gd name="connsiteY15" fmla="*/ 2058084 h 2260495"/>
              <a:gd name="connsiteX16" fmla="*/ 1305388 w 3822504"/>
              <a:gd name="connsiteY16" fmla="*/ 2089071 h 2260495"/>
              <a:gd name="connsiteX17" fmla="*/ 1057181 w 3822504"/>
              <a:gd name="connsiteY17" fmla="*/ 2120057 h 2260495"/>
              <a:gd name="connsiteX18" fmla="*/ 811384 w 3822504"/>
              <a:gd name="connsiteY18" fmla="*/ 2151043 h 2260495"/>
              <a:gd name="connsiteX19" fmla="*/ 565587 w 3822504"/>
              <a:gd name="connsiteY19" fmla="*/ 2184413 h 2260495"/>
              <a:gd name="connsiteX20" fmla="*/ 327019 w 3822504"/>
              <a:gd name="connsiteY20" fmla="*/ 2215399 h 2260495"/>
              <a:gd name="connsiteX21" fmla="*/ 88452 w 3822504"/>
              <a:gd name="connsiteY21" fmla="*/ 2248769 h 2260495"/>
              <a:gd name="connsiteX22" fmla="*/ 0 w 3822504"/>
              <a:gd name="connsiteY22" fmla="*/ 2260495 h 2260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822504" h="2260495">
                <a:moveTo>
                  <a:pt x="0" y="0"/>
                </a:moveTo>
                <a:lnTo>
                  <a:pt x="3822504" y="0"/>
                </a:lnTo>
                <a:lnTo>
                  <a:pt x="3801915" y="91643"/>
                </a:lnTo>
                <a:lnTo>
                  <a:pt x="3741670" y="346684"/>
                </a:lnTo>
                <a:lnTo>
                  <a:pt x="3676606" y="620794"/>
                </a:lnTo>
                <a:lnTo>
                  <a:pt x="3609133" y="906822"/>
                </a:lnTo>
                <a:lnTo>
                  <a:pt x="3539249" y="1209535"/>
                </a:lnTo>
                <a:lnTo>
                  <a:pt x="3464546" y="1524166"/>
                </a:lnTo>
                <a:lnTo>
                  <a:pt x="3387433" y="1850714"/>
                </a:lnTo>
                <a:lnTo>
                  <a:pt x="3117538" y="1881700"/>
                </a:lnTo>
                <a:lnTo>
                  <a:pt x="2852463" y="1907920"/>
                </a:lnTo>
                <a:lnTo>
                  <a:pt x="2589798" y="1938906"/>
                </a:lnTo>
                <a:lnTo>
                  <a:pt x="2327133" y="1967509"/>
                </a:lnTo>
                <a:lnTo>
                  <a:pt x="2066877" y="1996111"/>
                </a:lnTo>
                <a:lnTo>
                  <a:pt x="1811441" y="2027098"/>
                </a:lnTo>
                <a:lnTo>
                  <a:pt x="1556004" y="2058084"/>
                </a:lnTo>
                <a:lnTo>
                  <a:pt x="1305388" y="2089071"/>
                </a:lnTo>
                <a:lnTo>
                  <a:pt x="1057181" y="2120057"/>
                </a:lnTo>
                <a:lnTo>
                  <a:pt x="811384" y="2151043"/>
                </a:lnTo>
                <a:lnTo>
                  <a:pt x="565587" y="2184413"/>
                </a:lnTo>
                <a:lnTo>
                  <a:pt x="327019" y="2215399"/>
                </a:lnTo>
                <a:lnTo>
                  <a:pt x="88452" y="2248769"/>
                </a:lnTo>
                <a:lnTo>
                  <a:pt x="0" y="22604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bIns="864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BDF7A5EA-077F-47E7-AAA6-0EB143680FEE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gray">
          <a:xfrm>
            <a:off x="5375920" y="3140967"/>
            <a:ext cx="5472608" cy="2951857"/>
          </a:xfrm>
          <a:prstGeom prst="rect">
            <a:avLst/>
          </a:prstGeom>
        </p:spPr>
        <p:txBody>
          <a:bodyPr/>
          <a:lstStyle>
            <a:lvl1pPr>
              <a:defRPr sz="2000" b="0"/>
            </a:lvl1pPr>
            <a:lvl2pPr>
              <a:defRPr sz="2000" b="0"/>
            </a:lvl2pPr>
            <a:lvl3pPr marL="288000" indent="-288000">
              <a:defRPr sz="2000" b="0"/>
            </a:lvl3pPr>
            <a:lvl4pPr marL="576000" indent="-288000">
              <a:defRPr sz="2000" b="0"/>
            </a:lvl4pPr>
            <a:lvl5pPr marL="864000" indent="-288000">
              <a:defRPr sz="2000" b="0"/>
            </a:lvl5pPr>
            <a:lvl6pPr marL="864000" indent="-288000">
              <a:defRPr sz="2000" b="0"/>
            </a:lvl6pPr>
            <a:lvl7pPr marL="864000" indent="-288000">
              <a:defRPr sz="2000" b="0"/>
            </a:lvl7pPr>
            <a:lvl8pPr marL="864000" indent="-288000">
              <a:defRPr sz="2000" b="0"/>
            </a:lvl8pPr>
            <a:lvl9pPr marL="864000" indent="-288000">
              <a:defRPr sz="2000" b="0"/>
            </a:lvl9pPr>
          </a:lstStyle>
          <a:p>
            <a:pPr lvl="0"/>
            <a:r>
              <a:rPr lang="en-GB" dirty="0"/>
              <a:t>Click to edit text. Use the buttons “Increase List Level” and “Decrease List Level” for copytext or bullet levels.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7FC40FF3-CBDA-42B5-9A40-8FC290B2BB2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Optional chapter navigation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3E941CA3-A70F-4A96-BAD6-2FC09F2989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AD2D1F7-1BE6-4AEB-B7EA-23AB12FB201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en-GB" dirty="0"/>
              <a:t>Title of pre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ED3EC67-D185-4A02-8CC6-39F999D6C48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FF9B0DE-3FEB-4AA0-B465-B80EF7C1333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0340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00">
          <p15:clr>
            <a:srgbClr val="F26B43"/>
          </p15:clr>
        </p15:guide>
        <p15:guide id="2" pos="211">
          <p15:clr>
            <a:srgbClr val="F26B43"/>
          </p15:clr>
        </p15:guide>
        <p15:guide id="3" pos="7469">
          <p15:clr>
            <a:srgbClr val="F26B43"/>
          </p15:clr>
        </p15:guide>
        <p15:guide id="4" pos="3386">
          <p15:clr>
            <a:srgbClr val="A4A3A4"/>
          </p15:clr>
        </p15:guide>
        <p15:guide id="5" pos="6834">
          <p15:clr>
            <a:srgbClr val="F26B43"/>
          </p15:clr>
        </p15:guide>
        <p15:guide id="6" orient="horz" pos="3838">
          <p15:clr>
            <a:srgbClr val="F26B43"/>
          </p15:clr>
        </p15:guide>
        <p15:guide id="11" pos="275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64657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Titelmasterformat durch Klicken bearbeiten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 hasCustomPrompt="1"/>
          </p:nvPr>
        </p:nvSpPr>
        <p:spPr>
          <a:xfrm>
            <a:off x="1200151" y="1420814"/>
            <a:ext cx="10079567" cy="4668837"/>
          </a:xfrm>
        </p:spPr>
        <p:txBody>
          <a:bodyPr/>
          <a:lstStyle/>
          <a:p>
            <a:pPr lvl="0"/>
            <a:r>
              <a:rPr lang="de-DE" altLang="de-DE" noProof="0" dirty="0"/>
              <a:t>Textmasterformate durch Klicken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/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  <a:p>
            <a:pPr lvl="5"/>
            <a:r>
              <a:rPr lang="de-DE" altLang="de-DE" noProof="0" dirty="0"/>
              <a:t>Sechste Ebene</a:t>
            </a:r>
          </a:p>
          <a:p>
            <a:pPr lvl="6"/>
            <a:r>
              <a:rPr lang="de-DE" altLang="de-DE" noProof="0" dirty="0"/>
              <a:t>Sieb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Slid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8173562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21FB722E-EC08-4079-BFD8-6625833A04FC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2192000" cy="6858001"/>
          </a:xfrm>
          <a:prstGeom prst="rect">
            <a:avLst/>
          </a:prstGeom>
        </p:spPr>
      </p:pic>
      <p:sp>
        <p:nvSpPr>
          <p:cNvPr id="26" name="Freihandform: Form 25"/>
          <p:cNvSpPr/>
          <p:nvPr userDrawn="1"/>
        </p:nvSpPr>
        <p:spPr bwMode="gray">
          <a:xfrm>
            <a:off x="4043" y="3694748"/>
            <a:ext cx="12200660" cy="3163257"/>
          </a:xfrm>
          <a:custGeom>
            <a:avLst/>
            <a:gdLst>
              <a:gd name="connsiteX0" fmla="*/ 9150495 w 9150495"/>
              <a:gd name="connsiteY0" fmla="*/ 718 h 2372443"/>
              <a:gd name="connsiteX1" fmla="*/ 9150495 w 9150495"/>
              <a:gd name="connsiteY1" fmla="*/ 2372443 h 2372443"/>
              <a:gd name="connsiteX2" fmla="*/ 0 w 9150495"/>
              <a:gd name="connsiteY2" fmla="*/ 2372443 h 2372443"/>
              <a:gd name="connsiteX3" fmla="*/ 0 w 9150495"/>
              <a:gd name="connsiteY3" fmla="*/ 1354777 h 2372443"/>
              <a:gd name="connsiteX4" fmla="*/ 365277 w 9150495"/>
              <a:gd name="connsiteY4" fmla="*/ 1222172 h 2372443"/>
              <a:gd name="connsiteX5" fmla="*/ 9150495 w 9150495"/>
              <a:gd name="connsiteY5" fmla="*/ 718 h 2372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50495" h="2372443">
                <a:moveTo>
                  <a:pt x="9150495" y="718"/>
                </a:moveTo>
                <a:lnTo>
                  <a:pt x="9150495" y="2372443"/>
                </a:lnTo>
                <a:lnTo>
                  <a:pt x="0" y="2372443"/>
                </a:lnTo>
                <a:lnTo>
                  <a:pt x="0" y="1354777"/>
                </a:lnTo>
                <a:lnTo>
                  <a:pt x="365277" y="1222172"/>
                </a:lnTo>
                <a:cubicBezTo>
                  <a:pt x="2352878" y="527995"/>
                  <a:pt x="5113852" y="-22669"/>
                  <a:pt x="9150495" y="718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7" name="Freihandform: Form 26"/>
          <p:cNvSpPr/>
          <p:nvPr userDrawn="1"/>
        </p:nvSpPr>
        <p:spPr bwMode="gray">
          <a:xfrm>
            <a:off x="9687984" y="825506"/>
            <a:ext cx="2510648" cy="3308349"/>
          </a:xfrm>
          <a:custGeom>
            <a:avLst/>
            <a:gdLst>
              <a:gd name="connsiteX0" fmla="*/ 1657350 w 1657350"/>
              <a:gd name="connsiteY0" fmla="*/ 0 h 1857375"/>
              <a:gd name="connsiteX1" fmla="*/ 0 w 1657350"/>
              <a:gd name="connsiteY1" fmla="*/ 1857375 h 1857375"/>
              <a:gd name="connsiteX2" fmla="*/ 1657350 w 1657350"/>
              <a:gd name="connsiteY2" fmla="*/ 1847850 h 1857375"/>
              <a:gd name="connsiteX3" fmla="*/ 1657350 w 1657350"/>
              <a:gd name="connsiteY3" fmla="*/ 0 h 1857375"/>
              <a:gd name="connsiteX0" fmla="*/ 1647825 w 1647825"/>
              <a:gd name="connsiteY0" fmla="*/ 0 h 1847850"/>
              <a:gd name="connsiteX1" fmla="*/ 0 w 1647825"/>
              <a:gd name="connsiteY1" fmla="*/ 1828800 h 1847850"/>
              <a:gd name="connsiteX2" fmla="*/ 1647825 w 1647825"/>
              <a:gd name="connsiteY2" fmla="*/ 1847850 h 1847850"/>
              <a:gd name="connsiteX3" fmla="*/ 1647825 w 1647825"/>
              <a:gd name="connsiteY3" fmla="*/ 0 h 1847850"/>
              <a:gd name="connsiteX0" fmla="*/ 1647825 w 1647825"/>
              <a:gd name="connsiteY0" fmla="*/ 0 h 1847850"/>
              <a:gd name="connsiteX1" fmla="*/ 0 w 1647825"/>
              <a:gd name="connsiteY1" fmla="*/ 1828800 h 1847850"/>
              <a:gd name="connsiteX2" fmla="*/ 1647825 w 1647825"/>
              <a:gd name="connsiteY2" fmla="*/ 1847850 h 1847850"/>
              <a:gd name="connsiteX3" fmla="*/ 1647825 w 1647825"/>
              <a:gd name="connsiteY3" fmla="*/ 0 h 1847850"/>
              <a:gd name="connsiteX0" fmla="*/ 1647825 w 1647825"/>
              <a:gd name="connsiteY0" fmla="*/ 0 h 1847850"/>
              <a:gd name="connsiteX1" fmla="*/ 0 w 1647825"/>
              <a:gd name="connsiteY1" fmla="*/ 1828800 h 1847850"/>
              <a:gd name="connsiteX2" fmla="*/ 1647825 w 1647825"/>
              <a:gd name="connsiteY2" fmla="*/ 1847850 h 1847850"/>
              <a:gd name="connsiteX3" fmla="*/ 1647825 w 1647825"/>
              <a:gd name="connsiteY3" fmla="*/ 0 h 1847850"/>
              <a:gd name="connsiteX0" fmla="*/ 1647825 w 1647825"/>
              <a:gd name="connsiteY0" fmla="*/ 0 h 1847850"/>
              <a:gd name="connsiteX1" fmla="*/ 0 w 1647825"/>
              <a:gd name="connsiteY1" fmla="*/ 1828800 h 1847850"/>
              <a:gd name="connsiteX2" fmla="*/ 1647825 w 1647825"/>
              <a:gd name="connsiteY2" fmla="*/ 1847850 h 1847850"/>
              <a:gd name="connsiteX3" fmla="*/ 1647825 w 1647825"/>
              <a:gd name="connsiteY3" fmla="*/ 0 h 1847850"/>
              <a:gd name="connsiteX0" fmla="*/ 1647825 w 1647825"/>
              <a:gd name="connsiteY0" fmla="*/ 0 h 1847850"/>
              <a:gd name="connsiteX1" fmla="*/ 0 w 1647825"/>
              <a:gd name="connsiteY1" fmla="*/ 1828800 h 1847850"/>
              <a:gd name="connsiteX2" fmla="*/ 1647825 w 1647825"/>
              <a:gd name="connsiteY2" fmla="*/ 1847850 h 1847850"/>
              <a:gd name="connsiteX3" fmla="*/ 1647825 w 1647825"/>
              <a:gd name="connsiteY3" fmla="*/ 0 h 1847850"/>
              <a:gd name="connsiteX0" fmla="*/ 1938337 w 1938337"/>
              <a:gd name="connsiteY0" fmla="*/ 0 h 1914525"/>
              <a:gd name="connsiteX1" fmla="*/ 0 w 1938337"/>
              <a:gd name="connsiteY1" fmla="*/ 1914525 h 1914525"/>
              <a:gd name="connsiteX2" fmla="*/ 1938337 w 1938337"/>
              <a:gd name="connsiteY2" fmla="*/ 1847850 h 1914525"/>
              <a:gd name="connsiteX3" fmla="*/ 1938337 w 1938337"/>
              <a:gd name="connsiteY3" fmla="*/ 0 h 1914525"/>
              <a:gd name="connsiteX0" fmla="*/ 1938337 w 1938337"/>
              <a:gd name="connsiteY0" fmla="*/ 0 h 1914525"/>
              <a:gd name="connsiteX1" fmla="*/ 0 w 1938337"/>
              <a:gd name="connsiteY1" fmla="*/ 1914525 h 1914525"/>
              <a:gd name="connsiteX2" fmla="*/ 1938337 w 1938337"/>
              <a:gd name="connsiteY2" fmla="*/ 1890712 h 1914525"/>
              <a:gd name="connsiteX3" fmla="*/ 1938337 w 1938337"/>
              <a:gd name="connsiteY3" fmla="*/ 0 h 1914525"/>
              <a:gd name="connsiteX0" fmla="*/ 1933575 w 1938337"/>
              <a:gd name="connsiteY0" fmla="*/ 0 h 2200275"/>
              <a:gd name="connsiteX1" fmla="*/ 0 w 1938337"/>
              <a:gd name="connsiteY1" fmla="*/ 2200275 h 2200275"/>
              <a:gd name="connsiteX2" fmla="*/ 1938337 w 1938337"/>
              <a:gd name="connsiteY2" fmla="*/ 2176462 h 2200275"/>
              <a:gd name="connsiteX3" fmla="*/ 1933575 w 1938337"/>
              <a:gd name="connsiteY3" fmla="*/ 0 h 2200275"/>
              <a:gd name="connsiteX0" fmla="*/ 1933575 w 1933786"/>
              <a:gd name="connsiteY0" fmla="*/ 0 h 2481262"/>
              <a:gd name="connsiteX1" fmla="*/ 0 w 1933786"/>
              <a:gd name="connsiteY1" fmla="*/ 2200275 h 2481262"/>
              <a:gd name="connsiteX2" fmla="*/ 1928812 w 1933786"/>
              <a:gd name="connsiteY2" fmla="*/ 2481262 h 2481262"/>
              <a:gd name="connsiteX3" fmla="*/ 1933575 w 1933786"/>
              <a:gd name="connsiteY3" fmla="*/ 0 h 2481262"/>
              <a:gd name="connsiteX0" fmla="*/ 1933575 w 1933786"/>
              <a:gd name="connsiteY0" fmla="*/ 0 h 2481262"/>
              <a:gd name="connsiteX1" fmla="*/ 0 w 1933786"/>
              <a:gd name="connsiteY1" fmla="*/ 2200275 h 2481262"/>
              <a:gd name="connsiteX2" fmla="*/ 1928812 w 1933786"/>
              <a:gd name="connsiteY2" fmla="*/ 2481262 h 2481262"/>
              <a:gd name="connsiteX3" fmla="*/ 1933575 w 1933786"/>
              <a:gd name="connsiteY3" fmla="*/ 0 h 2481262"/>
              <a:gd name="connsiteX0" fmla="*/ 1933575 w 1933786"/>
              <a:gd name="connsiteY0" fmla="*/ 0 h 2481262"/>
              <a:gd name="connsiteX1" fmla="*/ 0 w 1933786"/>
              <a:gd name="connsiteY1" fmla="*/ 2190750 h 2481262"/>
              <a:gd name="connsiteX2" fmla="*/ 1928812 w 1933786"/>
              <a:gd name="connsiteY2" fmla="*/ 2481262 h 2481262"/>
              <a:gd name="connsiteX3" fmla="*/ 1933575 w 1933786"/>
              <a:gd name="connsiteY3" fmla="*/ 0 h 2481262"/>
              <a:gd name="connsiteX0" fmla="*/ 1933575 w 1933786"/>
              <a:gd name="connsiteY0" fmla="*/ 0 h 2481262"/>
              <a:gd name="connsiteX1" fmla="*/ 0 w 1933786"/>
              <a:gd name="connsiteY1" fmla="*/ 2190750 h 2481262"/>
              <a:gd name="connsiteX2" fmla="*/ 1928812 w 1933786"/>
              <a:gd name="connsiteY2" fmla="*/ 2481262 h 2481262"/>
              <a:gd name="connsiteX3" fmla="*/ 1933575 w 1933786"/>
              <a:gd name="connsiteY3" fmla="*/ 0 h 2481262"/>
              <a:gd name="connsiteX0" fmla="*/ 1933575 w 1933786"/>
              <a:gd name="connsiteY0" fmla="*/ 0 h 2481262"/>
              <a:gd name="connsiteX1" fmla="*/ 0 w 1933786"/>
              <a:gd name="connsiteY1" fmla="*/ 2190750 h 2481262"/>
              <a:gd name="connsiteX2" fmla="*/ 1928812 w 1933786"/>
              <a:gd name="connsiteY2" fmla="*/ 2481262 h 2481262"/>
              <a:gd name="connsiteX3" fmla="*/ 1933575 w 1933786"/>
              <a:gd name="connsiteY3" fmla="*/ 0 h 2481262"/>
              <a:gd name="connsiteX0" fmla="*/ 1882775 w 1882986"/>
              <a:gd name="connsiteY0" fmla="*/ 0 h 2481262"/>
              <a:gd name="connsiteX1" fmla="*/ 0 w 1882986"/>
              <a:gd name="connsiteY1" fmla="*/ 2289175 h 2481262"/>
              <a:gd name="connsiteX2" fmla="*/ 1878012 w 1882986"/>
              <a:gd name="connsiteY2" fmla="*/ 2481262 h 2481262"/>
              <a:gd name="connsiteX3" fmla="*/ 1882775 w 1882986"/>
              <a:gd name="connsiteY3" fmla="*/ 0 h 2481262"/>
              <a:gd name="connsiteX0" fmla="*/ 1882775 w 1882986"/>
              <a:gd name="connsiteY0" fmla="*/ 0 h 2481262"/>
              <a:gd name="connsiteX1" fmla="*/ 0 w 1882986"/>
              <a:gd name="connsiteY1" fmla="*/ 2289175 h 2481262"/>
              <a:gd name="connsiteX2" fmla="*/ 1878012 w 1882986"/>
              <a:gd name="connsiteY2" fmla="*/ 2481262 h 2481262"/>
              <a:gd name="connsiteX3" fmla="*/ 1882775 w 1882986"/>
              <a:gd name="connsiteY3" fmla="*/ 0 h 2481262"/>
              <a:gd name="connsiteX0" fmla="*/ 1882775 w 1882986"/>
              <a:gd name="connsiteY0" fmla="*/ 0 h 2481262"/>
              <a:gd name="connsiteX1" fmla="*/ 0 w 1882986"/>
              <a:gd name="connsiteY1" fmla="*/ 2289175 h 2481262"/>
              <a:gd name="connsiteX2" fmla="*/ 1878012 w 1882986"/>
              <a:gd name="connsiteY2" fmla="*/ 2481262 h 2481262"/>
              <a:gd name="connsiteX3" fmla="*/ 1882775 w 1882986"/>
              <a:gd name="connsiteY3" fmla="*/ 0 h 248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82986" h="2481262">
                <a:moveTo>
                  <a:pt x="1882775" y="0"/>
                </a:moveTo>
                <a:cubicBezTo>
                  <a:pt x="1533525" y="452437"/>
                  <a:pt x="573088" y="2251076"/>
                  <a:pt x="0" y="2289175"/>
                </a:cubicBezTo>
                <a:cubicBezTo>
                  <a:pt x="519112" y="2325687"/>
                  <a:pt x="1235075" y="2378075"/>
                  <a:pt x="1878012" y="2481262"/>
                </a:cubicBezTo>
                <a:cubicBezTo>
                  <a:pt x="1876425" y="1755775"/>
                  <a:pt x="1884362" y="725487"/>
                  <a:pt x="1882775" y="0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51" name="Freihandform: Form 50"/>
          <p:cNvSpPr/>
          <p:nvPr userDrawn="1"/>
        </p:nvSpPr>
        <p:spPr bwMode="gray">
          <a:xfrm>
            <a:off x="8129909" y="3875324"/>
            <a:ext cx="4062095" cy="2982681"/>
          </a:xfrm>
          <a:custGeom>
            <a:avLst/>
            <a:gdLst>
              <a:gd name="connsiteX0" fmla="*/ 3046571 w 3046571"/>
              <a:gd name="connsiteY0" fmla="*/ 0 h 2237011"/>
              <a:gd name="connsiteX1" fmla="*/ 3046571 w 3046571"/>
              <a:gd name="connsiteY1" fmla="*/ 2237011 h 2237011"/>
              <a:gd name="connsiteX2" fmla="*/ 1508027 w 3046571"/>
              <a:gd name="connsiteY2" fmla="*/ 2237011 h 2237011"/>
              <a:gd name="connsiteX3" fmla="*/ 1540566 w 3046571"/>
              <a:gd name="connsiteY3" fmla="*/ 2151361 h 2237011"/>
              <a:gd name="connsiteX4" fmla="*/ 0 w 3046571"/>
              <a:gd name="connsiteY4" fmla="*/ 127699 h 2237011"/>
              <a:gd name="connsiteX5" fmla="*/ 3016857 w 3046571"/>
              <a:gd name="connsiteY5" fmla="*/ 735 h 2237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046571" h="2237011">
                <a:moveTo>
                  <a:pt x="3046571" y="0"/>
                </a:moveTo>
                <a:lnTo>
                  <a:pt x="3046571" y="2237011"/>
                </a:lnTo>
                <a:lnTo>
                  <a:pt x="1508027" y="2237011"/>
                </a:lnTo>
                <a:lnTo>
                  <a:pt x="1540566" y="2151361"/>
                </a:lnTo>
                <a:cubicBezTo>
                  <a:pt x="1734443" y="1542385"/>
                  <a:pt x="1559273" y="396929"/>
                  <a:pt x="0" y="127699"/>
                </a:cubicBezTo>
                <a:cubicBezTo>
                  <a:pt x="411079" y="94943"/>
                  <a:pt x="2611296" y="11681"/>
                  <a:pt x="3016857" y="735"/>
                </a:cubicBezTo>
                <a:close/>
              </a:path>
            </a:pathLst>
          </a:custGeom>
          <a:solidFill>
            <a:schemeClr val="bg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52" name="Gruppieren 51"/>
          <p:cNvGrpSpPr/>
          <p:nvPr userDrawn="1"/>
        </p:nvGrpSpPr>
        <p:grpSpPr bwMode="gray">
          <a:xfrm>
            <a:off x="-74081" y="1300208"/>
            <a:ext cx="12284284" cy="4361041"/>
            <a:chOff x="-17779" y="1966951"/>
            <a:chExt cx="12310504" cy="4370349"/>
          </a:xfrm>
        </p:grpSpPr>
        <p:sp>
          <p:nvSpPr>
            <p:cNvPr id="53" name="Freihandform: Form 52"/>
            <p:cNvSpPr/>
            <p:nvPr/>
          </p:nvSpPr>
          <p:spPr bwMode="gray">
            <a:xfrm>
              <a:off x="1" y="4504257"/>
              <a:ext cx="12283433" cy="1833043"/>
            </a:xfrm>
            <a:custGeom>
              <a:avLst/>
              <a:gdLst>
                <a:gd name="connsiteX0" fmla="*/ 12179300 w 12179300"/>
                <a:gd name="connsiteY0" fmla="*/ 2336800 h 2349500"/>
                <a:gd name="connsiteX1" fmla="*/ 12179300 w 12179300"/>
                <a:gd name="connsiteY1" fmla="*/ 0 h 2349500"/>
                <a:gd name="connsiteX2" fmla="*/ 0 w 12179300"/>
                <a:gd name="connsiteY2" fmla="*/ 1828800 h 2349500"/>
                <a:gd name="connsiteX3" fmla="*/ 0 w 12179300"/>
                <a:gd name="connsiteY3" fmla="*/ 2349500 h 2349500"/>
                <a:gd name="connsiteX4" fmla="*/ 12179300 w 12179300"/>
                <a:gd name="connsiteY4" fmla="*/ 2336800 h 2349500"/>
                <a:gd name="connsiteX0" fmla="*/ 12179300 w 12179300"/>
                <a:gd name="connsiteY0" fmla="*/ 2336800 h 2349500"/>
                <a:gd name="connsiteX1" fmla="*/ 12179300 w 12179300"/>
                <a:gd name="connsiteY1" fmla="*/ 0 h 2349500"/>
                <a:gd name="connsiteX2" fmla="*/ 0 w 12179300"/>
                <a:gd name="connsiteY2" fmla="*/ 1828800 h 2349500"/>
                <a:gd name="connsiteX3" fmla="*/ 0 w 12179300"/>
                <a:gd name="connsiteY3" fmla="*/ 2349500 h 2349500"/>
                <a:gd name="connsiteX4" fmla="*/ 12179300 w 12179300"/>
                <a:gd name="connsiteY4" fmla="*/ 2336800 h 2349500"/>
                <a:gd name="connsiteX0" fmla="*/ 12179300 w 12179300"/>
                <a:gd name="connsiteY0" fmla="*/ 2336800 h 2349500"/>
                <a:gd name="connsiteX1" fmla="*/ 12179300 w 12179300"/>
                <a:gd name="connsiteY1" fmla="*/ 0 h 2349500"/>
                <a:gd name="connsiteX2" fmla="*/ 0 w 12179300"/>
                <a:gd name="connsiteY2" fmla="*/ 1828800 h 2349500"/>
                <a:gd name="connsiteX3" fmla="*/ 0 w 12179300"/>
                <a:gd name="connsiteY3" fmla="*/ 2349500 h 2349500"/>
                <a:gd name="connsiteX4" fmla="*/ 12179300 w 12179300"/>
                <a:gd name="connsiteY4" fmla="*/ 2336800 h 2349500"/>
                <a:gd name="connsiteX0" fmla="*/ 12179300 w 12179300"/>
                <a:gd name="connsiteY0" fmla="*/ 2336800 h 2349500"/>
                <a:gd name="connsiteX1" fmla="*/ 12179300 w 12179300"/>
                <a:gd name="connsiteY1" fmla="*/ 0 h 2349500"/>
                <a:gd name="connsiteX2" fmla="*/ 0 w 12179300"/>
                <a:gd name="connsiteY2" fmla="*/ 1828800 h 2349500"/>
                <a:gd name="connsiteX3" fmla="*/ 0 w 12179300"/>
                <a:gd name="connsiteY3" fmla="*/ 2349500 h 2349500"/>
                <a:gd name="connsiteX4" fmla="*/ 12179300 w 12179300"/>
                <a:gd name="connsiteY4" fmla="*/ 2336800 h 2349500"/>
                <a:gd name="connsiteX0" fmla="*/ 12179300 w 12179300"/>
                <a:gd name="connsiteY0" fmla="*/ 2336800 h 2349500"/>
                <a:gd name="connsiteX1" fmla="*/ 12179300 w 12179300"/>
                <a:gd name="connsiteY1" fmla="*/ 0 h 2349500"/>
                <a:gd name="connsiteX2" fmla="*/ 0 w 12179300"/>
                <a:gd name="connsiteY2" fmla="*/ 1828800 h 2349500"/>
                <a:gd name="connsiteX3" fmla="*/ 0 w 12179300"/>
                <a:gd name="connsiteY3" fmla="*/ 2349500 h 2349500"/>
                <a:gd name="connsiteX4" fmla="*/ 12179300 w 12179300"/>
                <a:gd name="connsiteY4" fmla="*/ 2336800 h 2349500"/>
                <a:gd name="connsiteX0" fmla="*/ 12179300 w 12179300"/>
                <a:gd name="connsiteY0" fmla="*/ 2336800 h 2349500"/>
                <a:gd name="connsiteX1" fmla="*/ 12179300 w 12179300"/>
                <a:gd name="connsiteY1" fmla="*/ 0 h 2349500"/>
                <a:gd name="connsiteX2" fmla="*/ 0 w 12179300"/>
                <a:gd name="connsiteY2" fmla="*/ 1828800 h 2349500"/>
                <a:gd name="connsiteX3" fmla="*/ 0 w 12179300"/>
                <a:gd name="connsiteY3" fmla="*/ 2349500 h 2349500"/>
                <a:gd name="connsiteX4" fmla="*/ 12179300 w 12179300"/>
                <a:gd name="connsiteY4" fmla="*/ 2336800 h 2349500"/>
                <a:gd name="connsiteX0" fmla="*/ 12179300 w 12179300"/>
                <a:gd name="connsiteY0" fmla="*/ 2336800 h 2349500"/>
                <a:gd name="connsiteX1" fmla="*/ 12179300 w 12179300"/>
                <a:gd name="connsiteY1" fmla="*/ 0 h 2349500"/>
                <a:gd name="connsiteX2" fmla="*/ 0 w 12179300"/>
                <a:gd name="connsiteY2" fmla="*/ 1828800 h 2349500"/>
                <a:gd name="connsiteX3" fmla="*/ 0 w 12179300"/>
                <a:gd name="connsiteY3" fmla="*/ 2349500 h 2349500"/>
                <a:gd name="connsiteX4" fmla="*/ 12179300 w 12179300"/>
                <a:gd name="connsiteY4" fmla="*/ 2336800 h 2349500"/>
                <a:gd name="connsiteX0" fmla="*/ 12179300 w 12179300"/>
                <a:gd name="connsiteY0" fmla="*/ 2346960 h 2349500"/>
                <a:gd name="connsiteX1" fmla="*/ 12179300 w 12179300"/>
                <a:gd name="connsiteY1" fmla="*/ 0 h 2349500"/>
                <a:gd name="connsiteX2" fmla="*/ 0 w 12179300"/>
                <a:gd name="connsiteY2" fmla="*/ 1828800 h 2349500"/>
                <a:gd name="connsiteX3" fmla="*/ 0 w 12179300"/>
                <a:gd name="connsiteY3" fmla="*/ 2349500 h 2349500"/>
                <a:gd name="connsiteX4" fmla="*/ 12179300 w 12179300"/>
                <a:gd name="connsiteY4" fmla="*/ 2346960 h 2349500"/>
                <a:gd name="connsiteX0" fmla="*/ 12179300 w 12270740"/>
                <a:gd name="connsiteY0" fmla="*/ 2346960 h 2438400"/>
                <a:gd name="connsiteX1" fmla="*/ 12179300 w 12270740"/>
                <a:gd name="connsiteY1" fmla="*/ 0 h 2438400"/>
                <a:gd name="connsiteX2" fmla="*/ 0 w 12270740"/>
                <a:gd name="connsiteY2" fmla="*/ 1828800 h 2438400"/>
                <a:gd name="connsiteX3" fmla="*/ 0 w 12270740"/>
                <a:gd name="connsiteY3" fmla="*/ 2349500 h 2438400"/>
                <a:gd name="connsiteX4" fmla="*/ 12270740 w 12270740"/>
                <a:gd name="connsiteY4" fmla="*/ 2438400 h 2438400"/>
                <a:gd name="connsiteX0" fmla="*/ 12179300 w 12179300"/>
                <a:gd name="connsiteY0" fmla="*/ 2346960 h 2349500"/>
                <a:gd name="connsiteX1" fmla="*/ 12179300 w 12179300"/>
                <a:gd name="connsiteY1" fmla="*/ 0 h 2349500"/>
                <a:gd name="connsiteX2" fmla="*/ 0 w 12179300"/>
                <a:gd name="connsiteY2" fmla="*/ 1828800 h 2349500"/>
                <a:gd name="connsiteX3" fmla="*/ 0 w 12179300"/>
                <a:gd name="connsiteY3" fmla="*/ 2349500 h 2349500"/>
                <a:gd name="connsiteX0" fmla="*/ 12179300 w 12179300"/>
                <a:gd name="connsiteY0" fmla="*/ 2346960 h 2346960"/>
                <a:gd name="connsiteX1" fmla="*/ 12179300 w 12179300"/>
                <a:gd name="connsiteY1" fmla="*/ 0 h 2346960"/>
                <a:gd name="connsiteX2" fmla="*/ 0 w 12179300"/>
                <a:gd name="connsiteY2" fmla="*/ 1828800 h 2346960"/>
                <a:gd name="connsiteX0" fmla="*/ 12179300 w 12179300"/>
                <a:gd name="connsiteY0" fmla="*/ 0 h 1828800"/>
                <a:gd name="connsiteX1" fmla="*/ 0 w 12179300"/>
                <a:gd name="connsiteY1" fmla="*/ 1828800 h 1828800"/>
                <a:gd name="connsiteX0" fmla="*/ 12225747 w 12225747"/>
                <a:gd name="connsiteY0" fmla="*/ 0 h 1833042"/>
                <a:gd name="connsiteX1" fmla="*/ 0 w 12225747"/>
                <a:gd name="connsiteY1" fmla="*/ 1833042 h 1833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225747" h="1833042">
                  <a:moveTo>
                    <a:pt x="12225747" y="0"/>
                  </a:moveTo>
                  <a:cubicBezTo>
                    <a:pt x="6225420" y="142240"/>
                    <a:pt x="4311227" y="423342"/>
                    <a:pt x="0" y="1833042"/>
                  </a:cubicBezTo>
                </a:path>
              </a:pathLst>
            </a:custGeom>
            <a:noFill/>
            <a:ln w="57150" cap="flat" cmpd="sng" algn="ctr">
              <a:gradFill>
                <a:gsLst>
                  <a:gs pos="0">
                    <a:schemeClr val="accent6"/>
                  </a:gs>
                  <a:gs pos="100000">
                    <a:schemeClr val="accent2">
                      <a:alpha val="64000"/>
                    </a:schemeClr>
                  </a:gs>
                </a:gsLst>
                <a:lin ang="168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5">
                <a:spcBef>
                  <a:spcPct val="50000"/>
                </a:spcBef>
              </a:pPr>
              <a:endParaRPr lang="de-DE" sz="1600">
                <a:solidFill>
                  <a:srgbClr val="000000"/>
                </a:solidFill>
              </a:endParaRPr>
            </a:p>
          </p:txBody>
        </p:sp>
        <p:sp>
          <p:nvSpPr>
            <p:cNvPr id="54" name="Freihandform: Form 53"/>
            <p:cNvSpPr/>
            <p:nvPr/>
          </p:nvSpPr>
          <p:spPr bwMode="gray">
            <a:xfrm>
              <a:off x="17781" y="1966951"/>
              <a:ext cx="12260714" cy="3595269"/>
            </a:xfrm>
            <a:custGeom>
              <a:avLst/>
              <a:gdLst>
                <a:gd name="connsiteX0" fmla="*/ 0 w 10068560"/>
                <a:gd name="connsiteY0" fmla="*/ 731520 h 2011680"/>
                <a:gd name="connsiteX1" fmla="*/ 0 w 10068560"/>
                <a:gd name="connsiteY1" fmla="*/ 1046480 h 2011680"/>
                <a:gd name="connsiteX2" fmla="*/ 7213600 w 10068560"/>
                <a:gd name="connsiteY2" fmla="*/ 2011680 h 2011680"/>
                <a:gd name="connsiteX3" fmla="*/ 10068560 w 10068560"/>
                <a:gd name="connsiteY3" fmla="*/ 0 h 2011680"/>
                <a:gd name="connsiteX4" fmla="*/ 10068560 w 10068560"/>
                <a:gd name="connsiteY4" fmla="*/ 0 h 2011680"/>
                <a:gd name="connsiteX5" fmla="*/ 10068560 w 10068560"/>
                <a:gd name="connsiteY5" fmla="*/ 0 h 2011680"/>
                <a:gd name="connsiteX0" fmla="*/ 0 w 10068560"/>
                <a:gd name="connsiteY0" fmla="*/ 731520 h 2011680"/>
                <a:gd name="connsiteX1" fmla="*/ 0 w 10068560"/>
                <a:gd name="connsiteY1" fmla="*/ 1046480 h 2011680"/>
                <a:gd name="connsiteX2" fmla="*/ 7213600 w 10068560"/>
                <a:gd name="connsiteY2" fmla="*/ 2011680 h 2011680"/>
                <a:gd name="connsiteX3" fmla="*/ 10068560 w 10068560"/>
                <a:gd name="connsiteY3" fmla="*/ 0 h 2011680"/>
                <a:gd name="connsiteX4" fmla="*/ 10068560 w 10068560"/>
                <a:gd name="connsiteY4" fmla="*/ 0 h 2011680"/>
                <a:gd name="connsiteX5" fmla="*/ 10068560 w 10068560"/>
                <a:gd name="connsiteY5" fmla="*/ 0 h 2011680"/>
                <a:gd name="connsiteX0" fmla="*/ 0 w 10068560"/>
                <a:gd name="connsiteY0" fmla="*/ 731520 h 2011680"/>
                <a:gd name="connsiteX1" fmla="*/ 0 w 10068560"/>
                <a:gd name="connsiteY1" fmla="*/ 1046480 h 2011680"/>
                <a:gd name="connsiteX2" fmla="*/ 7213600 w 10068560"/>
                <a:gd name="connsiteY2" fmla="*/ 2011680 h 2011680"/>
                <a:gd name="connsiteX3" fmla="*/ 10068560 w 10068560"/>
                <a:gd name="connsiteY3" fmla="*/ 0 h 2011680"/>
                <a:gd name="connsiteX4" fmla="*/ 10068560 w 10068560"/>
                <a:gd name="connsiteY4" fmla="*/ 0 h 2011680"/>
                <a:gd name="connsiteX5" fmla="*/ 10068560 w 10068560"/>
                <a:gd name="connsiteY5" fmla="*/ 0 h 2011680"/>
                <a:gd name="connsiteX0" fmla="*/ 0 w 10068560"/>
                <a:gd name="connsiteY0" fmla="*/ 731520 h 1991360"/>
                <a:gd name="connsiteX1" fmla="*/ 0 w 10068560"/>
                <a:gd name="connsiteY1" fmla="*/ 1046480 h 1991360"/>
                <a:gd name="connsiteX2" fmla="*/ 7162800 w 10068560"/>
                <a:gd name="connsiteY2" fmla="*/ 1991360 h 1991360"/>
                <a:gd name="connsiteX3" fmla="*/ 10068560 w 10068560"/>
                <a:gd name="connsiteY3" fmla="*/ 0 h 1991360"/>
                <a:gd name="connsiteX4" fmla="*/ 10068560 w 10068560"/>
                <a:gd name="connsiteY4" fmla="*/ 0 h 1991360"/>
                <a:gd name="connsiteX5" fmla="*/ 10068560 w 10068560"/>
                <a:gd name="connsiteY5" fmla="*/ 0 h 1991360"/>
                <a:gd name="connsiteX0" fmla="*/ 0 w 10068560"/>
                <a:gd name="connsiteY0" fmla="*/ 731520 h 1991360"/>
                <a:gd name="connsiteX1" fmla="*/ 0 w 10068560"/>
                <a:gd name="connsiteY1" fmla="*/ 1046480 h 1991360"/>
                <a:gd name="connsiteX2" fmla="*/ 7162800 w 10068560"/>
                <a:gd name="connsiteY2" fmla="*/ 1991360 h 1991360"/>
                <a:gd name="connsiteX3" fmla="*/ 10068560 w 10068560"/>
                <a:gd name="connsiteY3" fmla="*/ 0 h 1991360"/>
                <a:gd name="connsiteX4" fmla="*/ 10068560 w 10068560"/>
                <a:gd name="connsiteY4" fmla="*/ 0 h 1991360"/>
                <a:gd name="connsiteX5" fmla="*/ 10068560 w 10068560"/>
                <a:gd name="connsiteY5" fmla="*/ 0 h 1991360"/>
                <a:gd name="connsiteX0" fmla="*/ 0 w 10068560"/>
                <a:gd name="connsiteY0" fmla="*/ 731520 h 1991360"/>
                <a:gd name="connsiteX1" fmla="*/ 0 w 10068560"/>
                <a:gd name="connsiteY1" fmla="*/ 1046480 h 1991360"/>
                <a:gd name="connsiteX2" fmla="*/ 7162800 w 10068560"/>
                <a:gd name="connsiteY2" fmla="*/ 1991360 h 1991360"/>
                <a:gd name="connsiteX3" fmla="*/ 10068560 w 10068560"/>
                <a:gd name="connsiteY3" fmla="*/ 0 h 1991360"/>
                <a:gd name="connsiteX4" fmla="*/ 10068560 w 10068560"/>
                <a:gd name="connsiteY4" fmla="*/ 0 h 1991360"/>
                <a:gd name="connsiteX5" fmla="*/ 10068560 w 10068560"/>
                <a:gd name="connsiteY5" fmla="*/ 0 h 1991360"/>
                <a:gd name="connsiteX0" fmla="*/ 0 w 10068560"/>
                <a:gd name="connsiteY0" fmla="*/ 731520 h 1991360"/>
                <a:gd name="connsiteX1" fmla="*/ 0 w 10068560"/>
                <a:gd name="connsiteY1" fmla="*/ 1046480 h 1991360"/>
                <a:gd name="connsiteX2" fmla="*/ 7162800 w 10068560"/>
                <a:gd name="connsiteY2" fmla="*/ 1991360 h 1991360"/>
                <a:gd name="connsiteX3" fmla="*/ 10068560 w 10068560"/>
                <a:gd name="connsiteY3" fmla="*/ 0 h 1991360"/>
                <a:gd name="connsiteX4" fmla="*/ 10068560 w 10068560"/>
                <a:gd name="connsiteY4" fmla="*/ 0 h 1991360"/>
                <a:gd name="connsiteX5" fmla="*/ 10068560 w 10068560"/>
                <a:gd name="connsiteY5" fmla="*/ 0 h 1991360"/>
                <a:gd name="connsiteX0" fmla="*/ 0 w 10068560"/>
                <a:gd name="connsiteY0" fmla="*/ 731520 h 1991360"/>
                <a:gd name="connsiteX1" fmla="*/ 0 w 10068560"/>
                <a:gd name="connsiteY1" fmla="*/ 1046480 h 1991360"/>
                <a:gd name="connsiteX2" fmla="*/ 7162800 w 10068560"/>
                <a:gd name="connsiteY2" fmla="*/ 1991360 h 1991360"/>
                <a:gd name="connsiteX3" fmla="*/ 10068560 w 10068560"/>
                <a:gd name="connsiteY3" fmla="*/ 0 h 1991360"/>
                <a:gd name="connsiteX4" fmla="*/ 10068560 w 10068560"/>
                <a:gd name="connsiteY4" fmla="*/ 0 h 1991360"/>
                <a:gd name="connsiteX5" fmla="*/ 10068560 w 10068560"/>
                <a:gd name="connsiteY5" fmla="*/ 0 h 1991360"/>
                <a:gd name="connsiteX0" fmla="*/ 0 w 10068560"/>
                <a:gd name="connsiteY0" fmla="*/ 731520 h 1991360"/>
                <a:gd name="connsiteX1" fmla="*/ 7162800 w 10068560"/>
                <a:gd name="connsiteY1" fmla="*/ 1991360 h 1991360"/>
                <a:gd name="connsiteX2" fmla="*/ 10068560 w 10068560"/>
                <a:gd name="connsiteY2" fmla="*/ 0 h 1991360"/>
                <a:gd name="connsiteX3" fmla="*/ 10068560 w 10068560"/>
                <a:gd name="connsiteY3" fmla="*/ 0 h 1991360"/>
                <a:gd name="connsiteX4" fmla="*/ 10068560 w 10068560"/>
                <a:gd name="connsiteY4" fmla="*/ 0 h 1991360"/>
                <a:gd name="connsiteX0" fmla="*/ 0 w 10068560"/>
                <a:gd name="connsiteY0" fmla="*/ 731520 h 1991360"/>
                <a:gd name="connsiteX1" fmla="*/ 7162800 w 10068560"/>
                <a:gd name="connsiteY1" fmla="*/ 1991360 h 1991360"/>
                <a:gd name="connsiteX2" fmla="*/ 10068560 w 10068560"/>
                <a:gd name="connsiteY2" fmla="*/ 0 h 1991360"/>
                <a:gd name="connsiteX3" fmla="*/ 10068560 w 10068560"/>
                <a:gd name="connsiteY3" fmla="*/ 0 h 1991360"/>
                <a:gd name="connsiteX4" fmla="*/ 10068560 w 10068560"/>
                <a:gd name="connsiteY4" fmla="*/ 0 h 1991360"/>
                <a:gd name="connsiteX0" fmla="*/ 0 w 10068560"/>
                <a:gd name="connsiteY0" fmla="*/ 731520 h 1998666"/>
                <a:gd name="connsiteX1" fmla="*/ 7162800 w 10068560"/>
                <a:gd name="connsiteY1" fmla="*/ 1991360 h 1998666"/>
                <a:gd name="connsiteX2" fmla="*/ 10068560 w 10068560"/>
                <a:gd name="connsiteY2" fmla="*/ 0 h 1998666"/>
                <a:gd name="connsiteX3" fmla="*/ 10068560 w 10068560"/>
                <a:gd name="connsiteY3" fmla="*/ 0 h 1998666"/>
                <a:gd name="connsiteX4" fmla="*/ 10068560 w 10068560"/>
                <a:gd name="connsiteY4" fmla="*/ 0 h 1998666"/>
                <a:gd name="connsiteX0" fmla="*/ 0 w 10068560"/>
                <a:gd name="connsiteY0" fmla="*/ 731520 h 1997333"/>
                <a:gd name="connsiteX1" fmla="*/ 7162800 w 10068560"/>
                <a:gd name="connsiteY1" fmla="*/ 1991360 h 1997333"/>
                <a:gd name="connsiteX2" fmla="*/ 10068560 w 10068560"/>
                <a:gd name="connsiteY2" fmla="*/ 0 h 1997333"/>
                <a:gd name="connsiteX3" fmla="*/ 10068560 w 10068560"/>
                <a:gd name="connsiteY3" fmla="*/ 0 h 1997333"/>
                <a:gd name="connsiteX4" fmla="*/ 10068560 w 10068560"/>
                <a:gd name="connsiteY4" fmla="*/ 0 h 1997333"/>
                <a:gd name="connsiteX0" fmla="*/ 0 w 10068560"/>
                <a:gd name="connsiteY0" fmla="*/ 731520 h 1987235"/>
                <a:gd name="connsiteX1" fmla="*/ 7101840 w 10068560"/>
                <a:gd name="connsiteY1" fmla="*/ 1981200 h 1987235"/>
                <a:gd name="connsiteX2" fmla="*/ 10068560 w 10068560"/>
                <a:gd name="connsiteY2" fmla="*/ 0 h 1987235"/>
                <a:gd name="connsiteX3" fmla="*/ 10068560 w 10068560"/>
                <a:gd name="connsiteY3" fmla="*/ 0 h 1987235"/>
                <a:gd name="connsiteX4" fmla="*/ 10068560 w 10068560"/>
                <a:gd name="connsiteY4" fmla="*/ 0 h 1987235"/>
                <a:gd name="connsiteX0" fmla="*/ 0 w 10068560"/>
                <a:gd name="connsiteY0" fmla="*/ 731520 h 1987235"/>
                <a:gd name="connsiteX1" fmla="*/ 7101840 w 10068560"/>
                <a:gd name="connsiteY1" fmla="*/ 1981200 h 1987235"/>
                <a:gd name="connsiteX2" fmla="*/ 10068560 w 10068560"/>
                <a:gd name="connsiteY2" fmla="*/ 0 h 1987235"/>
                <a:gd name="connsiteX3" fmla="*/ 10068560 w 10068560"/>
                <a:gd name="connsiteY3" fmla="*/ 0 h 1987235"/>
                <a:gd name="connsiteX4" fmla="*/ 10068560 w 10068560"/>
                <a:gd name="connsiteY4" fmla="*/ 0 h 1987235"/>
                <a:gd name="connsiteX0" fmla="*/ 0 w 11097260"/>
                <a:gd name="connsiteY0" fmla="*/ 419100 h 1985764"/>
                <a:gd name="connsiteX1" fmla="*/ 8130540 w 11097260"/>
                <a:gd name="connsiteY1" fmla="*/ 1981200 h 1985764"/>
                <a:gd name="connsiteX2" fmla="*/ 11097260 w 11097260"/>
                <a:gd name="connsiteY2" fmla="*/ 0 h 1985764"/>
                <a:gd name="connsiteX3" fmla="*/ 11097260 w 11097260"/>
                <a:gd name="connsiteY3" fmla="*/ 0 h 1985764"/>
                <a:gd name="connsiteX4" fmla="*/ 11097260 w 11097260"/>
                <a:gd name="connsiteY4" fmla="*/ 0 h 1985764"/>
                <a:gd name="connsiteX0" fmla="*/ 0 w 11097260"/>
                <a:gd name="connsiteY0" fmla="*/ 419100 h 1985902"/>
                <a:gd name="connsiteX1" fmla="*/ 8130540 w 11097260"/>
                <a:gd name="connsiteY1" fmla="*/ 1981200 h 1985902"/>
                <a:gd name="connsiteX2" fmla="*/ 11097260 w 11097260"/>
                <a:gd name="connsiteY2" fmla="*/ 0 h 1985902"/>
                <a:gd name="connsiteX3" fmla="*/ 11097260 w 11097260"/>
                <a:gd name="connsiteY3" fmla="*/ 0 h 1985902"/>
                <a:gd name="connsiteX4" fmla="*/ 11097260 w 11097260"/>
                <a:gd name="connsiteY4" fmla="*/ 0 h 1985902"/>
                <a:gd name="connsiteX0" fmla="*/ 0 w 12192635"/>
                <a:gd name="connsiteY0" fmla="*/ 1947862 h 3514664"/>
                <a:gd name="connsiteX1" fmla="*/ 8130540 w 12192635"/>
                <a:gd name="connsiteY1" fmla="*/ 3509962 h 3514664"/>
                <a:gd name="connsiteX2" fmla="*/ 11097260 w 12192635"/>
                <a:gd name="connsiteY2" fmla="*/ 1528762 h 3514664"/>
                <a:gd name="connsiteX3" fmla="*/ 11097260 w 12192635"/>
                <a:gd name="connsiteY3" fmla="*/ 1528762 h 3514664"/>
                <a:gd name="connsiteX4" fmla="*/ 12192635 w 12192635"/>
                <a:gd name="connsiteY4" fmla="*/ 0 h 3514664"/>
                <a:gd name="connsiteX0" fmla="*/ 0 w 12192635"/>
                <a:gd name="connsiteY0" fmla="*/ 1947862 h 3514664"/>
                <a:gd name="connsiteX1" fmla="*/ 8130540 w 12192635"/>
                <a:gd name="connsiteY1" fmla="*/ 3509962 h 3514664"/>
                <a:gd name="connsiteX2" fmla="*/ 11097260 w 12192635"/>
                <a:gd name="connsiteY2" fmla="*/ 1528762 h 3514664"/>
                <a:gd name="connsiteX3" fmla="*/ 11097260 w 12192635"/>
                <a:gd name="connsiteY3" fmla="*/ 1528762 h 3514664"/>
                <a:gd name="connsiteX4" fmla="*/ 12192635 w 12192635"/>
                <a:gd name="connsiteY4" fmla="*/ 0 h 3514664"/>
                <a:gd name="connsiteX0" fmla="*/ 0 w 12192635"/>
                <a:gd name="connsiteY0" fmla="*/ 1947862 h 3514664"/>
                <a:gd name="connsiteX1" fmla="*/ 8130540 w 12192635"/>
                <a:gd name="connsiteY1" fmla="*/ 3509962 h 3514664"/>
                <a:gd name="connsiteX2" fmla="*/ 11097260 w 12192635"/>
                <a:gd name="connsiteY2" fmla="*/ 1528762 h 3514664"/>
                <a:gd name="connsiteX3" fmla="*/ 10868660 w 12192635"/>
                <a:gd name="connsiteY3" fmla="*/ 1881187 h 3514664"/>
                <a:gd name="connsiteX4" fmla="*/ 12192635 w 12192635"/>
                <a:gd name="connsiteY4" fmla="*/ 0 h 3514664"/>
                <a:gd name="connsiteX0" fmla="*/ 0 w 12192635"/>
                <a:gd name="connsiteY0" fmla="*/ 1947862 h 3514664"/>
                <a:gd name="connsiteX1" fmla="*/ 8130540 w 12192635"/>
                <a:gd name="connsiteY1" fmla="*/ 3509962 h 3514664"/>
                <a:gd name="connsiteX2" fmla="*/ 10868660 w 12192635"/>
                <a:gd name="connsiteY2" fmla="*/ 1881187 h 3514664"/>
                <a:gd name="connsiteX3" fmla="*/ 12192635 w 12192635"/>
                <a:gd name="connsiteY3" fmla="*/ 0 h 3514664"/>
                <a:gd name="connsiteX0" fmla="*/ 0 w 12192635"/>
                <a:gd name="connsiteY0" fmla="*/ 1947862 h 3514664"/>
                <a:gd name="connsiteX1" fmla="*/ 8130540 w 12192635"/>
                <a:gd name="connsiteY1" fmla="*/ 3509962 h 3514664"/>
                <a:gd name="connsiteX2" fmla="*/ 10863898 w 12192635"/>
                <a:gd name="connsiteY2" fmla="*/ 1881187 h 3514664"/>
                <a:gd name="connsiteX3" fmla="*/ 12192635 w 12192635"/>
                <a:gd name="connsiteY3" fmla="*/ 0 h 3514664"/>
                <a:gd name="connsiteX0" fmla="*/ 0 w 12192635"/>
                <a:gd name="connsiteY0" fmla="*/ 1947862 h 3514664"/>
                <a:gd name="connsiteX1" fmla="*/ 8130540 w 12192635"/>
                <a:gd name="connsiteY1" fmla="*/ 3509962 h 3514664"/>
                <a:gd name="connsiteX2" fmla="*/ 10863898 w 12192635"/>
                <a:gd name="connsiteY2" fmla="*/ 1881187 h 3514664"/>
                <a:gd name="connsiteX3" fmla="*/ 12192635 w 12192635"/>
                <a:gd name="connsiteY3" fmla="*/ 0 h 3514664"/>
                <a:gd name="connsiteX0" fmla="*/ 0 w 12192635"/>
                <a:gd name="connsiteY0" fmla="*/ 1947862 h 3514664"/>
                <a:gd name="connsiteX1" fmla="*/ 8130540 w 12192635"/>
                <a:gd name="connsiteY1" fmla="*/ 3509962 h 3514664"/>
                <a:gd name="connsiteX2" fmla="*/ 10863898 w 12192635"/>
                <a:gd name="connsiteY2" fmla="*/ 1881187 h 3514664"/>
                <a:gd name="connsiteX3" fmla="*/ 12192635 w 12192635"/>
                <a:gd name="connsiteY3" fmla="*/ 0 h 3514664"/>
                <a:gd name="connsiteX0" fmla="*/ 0 w 12256247"/>
                <a:gd name="connsiteY0" fmla="*/ 2028467 h 3595269"/>
                <a:gd name="connsiteX1" fmla="*/ 8130540 w 12256247"/>
                <a:gd name="connsiteY1" fmla="*/ 3590567 h 3595269"/>
                <a:gd name="connsiteX2" fmla="*/ 10863898 w 12256247"/>
                <a:gd name="connsiteY2" fmla="*/ 1961792 h 3595269"/>
                <a:gd name="connsiteX3" fmla="*/ 12256247 w 12256247"/>
                <a:gd name="connsiteY3" fmla="*/ 0 h 3595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56247" h="3595269">
                  <a:moveTo>
                    <a:pt x="0" y="2028467"/>
                  </a:moveTo>
                  <a:cubicBezTo>
                    <a:pt x="1602740" y="2506834"/>
                    <a:pt x="6383020" y="3678620"/>
                    <a:pt x="8130540" y="3590567"/>
                  </a:cubicBezTo>
                  <a:cubicBezTo>
                    <a:pt x="9518120" y="3541355"/>
                    <a:pt x="10358332" y="2561073"/>
                    <a:pt x="10863898" y="1961792"/>
                  </a:cubicBezTo>
                  <a:lnTo>
                    <a:pt x="12256247" y="0"/>
                  </a:lnTo>
                </a:path>
              </a:pathLst>
            </a:custGeom>
            <a:noFill/>
            <a:ln w="9525" cap="flat" cmpd="sng" algn="ctr">
              <a:gradFill>
                <a:gsLst>
                  <a:gs pos="0">
                    <a:schemeClr val="accent6"/>
                  </a:gs>
                  <a:gs pos="100000">
                    <a:schemeClr val="accent2">
                      <a:alpha val="64000"/>
                    </a:schemeClr>
                  </a:gs>
                </a:gsLst>
                <a:lin ang="168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5">
                <a:spcBef>
                  <a:spcPct val="50000"/>
                </a:spcBef>
              </a:pPr>
              <a:endParaRPr lang="de-DE" sz="1600">
                <a:solidFill>
                  <a:srgbClr val="000000"/>
                </a:solidFill>
              </a:endParaRPr>
            </a:p>
          </p:txBody>
        </p:sp>
        <p:sp>
          <p:nvSpPr>
            <p:cNvPr id="55" name="Freihandform: Form 54"/>
            <p:cNvSpPr/>
            <p:nvPr/>
          </p:nvSpPr>
          <p:spPr bwMode="gray">
            <a:xfrm>
              <a:off x="2542" y="2372716"/>
              <a:ext cx="12284439" cy="3152820"/>
            </a:xfrm>
            <a:custGeom>
              <a:avLst/>
              <a:gdLst>
                <a:gd name="connsiteX0" fmla="*/ 0 w 10088880"/>
                <a:gd name="connsiteY0" fmla="*/ 873760 h 1838960"/>
                <a:gd name="connsiteX1" fmla="*/ 5791200 w 10088880"/>
                <a:gd name="connsiteY1" fmla="*/ 1838960 h 1838960"/>
                <a:gd name="connsiteX2" fmla="*/ 10088880 w 10088880"/>
                <a:gd name="connsiteY2" fmla="*/ 0 h 1838960"/>
                <a:gd name="connsiteX0" fmla="*/ 0 w 10088880"/>
                <a:gd name="connsiteY0" fmla="*/ 873760 h 1838960"/>
                <a:gd name="connsiteX1" fmla="*/ 5791200 w 10088880"/>
                <a:gd name="connsiteY1" fmla="*/ 1838960 h 1838960"/>
                <a:gd name="connsiteX2" fmla="*/ 10088880 w 10088880"/>
                <a:gd name="connsiteY2" fmla="*/ 0 h 1838960"/>
                <a:gd name="connsiteX0" fmla="*/ 0 w 10088880"/>
                <a:gd name="connsiteY0" fmla="*/ 873760 h 1838960"/>
                <a:gd name="connsiteX1" fmla="*/ 5791200 w 10088880"/>
                <a:gd name="connsiteY1" fmla="*/ 1838960 h 1838960"/>
                <a:gd name="connsiteX2" fmla="*/ 10088880 w 10088880"/>
                <a:gd name="connsiteY2" fmla="*/ 0 h 1838960"/>
                <a:gd name="connsiteX0" fmla="*/ 0 w 10088880"/>
                <a:gd name="connsiteY0" fmla="*/ 873760 h 1847524"/>
                <a:gd name="connsiteX1" fmla="*/ 5791200 w 10088880"/>
                <a:gd name="connsiteY1" fmla="*/ 1838960 h 1847524"/>
                <a:gd name="connsiteX2" fmla="*/ 10088880 w 10088880"/>
                <a:gd name="connsiteY2" fmla="*/ 0 h 1847524"/>
                <a:gd name="connsiteX0" fmla="*/ 0 w 10088880"/>
                <a:gd name="connsiteY0" fmla="*/ 873760 h 1864991"/>
                <a:gd name="connsiteX1" fmla="*/ 5791200 w 10088880"/>
                <a:gd name="connsiteY1" fmla="*/ 1838960 h 1864991"/>
                <a:gd name="connsiteX2" fmla="*/ 10088880 w 10088880"/>
                <a:gd name="connsiteY2" fmla="*/ 0 h 1864991"/>
                <a:gd name="connsiteX0" fmla="*/ 0 w 11132820"/>
                <a:gd name="connsiteY0" fmla="*/ 584200 h 1864991"/>
                <a:gd name="connsiteX1" fmla="*/ 6835140 w 11132820"/>
                <a:gd name="connsiteY1" fmla="*/ 1838960 h 1864991"/>
                <a:gd name="connsiteX2" fmla="*/ 11132820 w 11132820"/>
                <a:gd name="connsiteY2" fmla="*/ 0 h 1864991"/>
                <a:gd name="connsiteX0" fmla="*/ 0 w 11132820"/>
                <a:gd name="connsiteY0" fmla="*/ 584200 h 1864991"/>
                <a:gd name="connsiteX1" fmla="*/ 6835140 w 11132820"/>
                <a:gd name="connsiteY1" fmla="*/ 1838960 h 1864991"/>
                <a:gd name="connsiteX2" fmla="*/ 11132820 w 11132820"/>
                <a:gd name="connsiteY2" fmla="*/ 0 h 1864991"/>
                <a:gd name="connsiteX0" fmla="*/ 0 w 12213907"/>
                <a:gd name="connsiteY0" fmla="*/ 1798638 h 3061012"/>
                <a:gd name="connsiteX1" fmla="*/ 6835140 w 12213907"/>
                <a:gd name="connsiteY1" fmla="*/ 3053398 h 3061012"/>
                <a:gd name="connsiteX2" fmla="*/ 12213907 w 12213907"/>
                <a:gd name="connsiteY2" fmla="*/ 0 h 3061012"/>
                <a:gd name="connsiteX0" fmla="*/ 0 w 12213907"/>
                <a:gd name="connsiteY0" fmla="*/ 1798638 h 3071664"/>
                <a:gd name="connsiteX1" fmla="*/ 6835140 w 12213907"/>
                <a:gd name="connsiteY1" fmla="*/ 3053398 h 3071664"/>
                <a:gd name="connsiteX2" fmla="*/ 12213907 w 12213907"/>
                <a:gd name="connsiteY2" fmla="*/ 0 h 3071664"/>
                <a:gd name="connsiteX0" fmla="*/ 0 w 12213907"/>
                <a:gd name="connsiteY0" fmla="*/ 1798638 h 3078463"/>
                <a:gd name="connsiteX1" fmla="*/ 6835140 w 12213907"/>
                <a:gd name="connsiteY1" fmla="*/ 3053398 h 3078463"/>
                <a:gd name="connsiteX2" fmla="*/ 12213907 w 12213907"/>
                <a:gd name="connsiteY2" fmla="*/ 0 h 3078463"/>
                <a:gd name="connsiteX0" fmla="*/ 0 w 12213907"/>
                <a:gd name="connsiteY0" fmla="*/ 1798638 h 3076207"/>
                <a:gd name="connsiteX1" fmla="*/ 6835140 w 12213907"/>
                <a:gd name="connsiteY1" fmla="*/ 3053398 h 3076207"/>
                <a:gd name="connsiteX2" fmla="*/ 12213907 w 12213907"/>
                <a:gd name="connsiteY2" fmla="*/ 0 h 3076207"/>
                <a:gd name="connsiteX0" fmla="*/ 0 w 12213907"/>
                <a:gd name="connsiteY0" fmla="*/ 1798638 h 3053398"/>
                <a:gd name="connsiteX1" fmla="*/ 6835140 w 12213907"/>
                <a:gd name="connsiteY1" fmla="*/ 3053398 h 3053398"/>
                <a:gd name="connsiteX2" fmla="*/ 11477223 w 12213907"/>
                <a:gd name="connsiteY2" fmla="*/ 846305 h 3053398"/>
                <a:gd name="connsiteX3" fmla="*/ 12213907 w 12213907"/>
                <a:gd name="connsiteY3" fmla="*/ 0 h 3053398"/>
                <a:gd name="connsiteX0" fmla="*/ 0 w 12213907"/>
                <a:gd name="connsiteY0" fmla="*/ 1798638 h 3053398"/>
                <a:gd name="connsiteX1" fmla="*/ 6835140 w 12213907"/>
                <a:gd name="connsiteY1" fmla="*/ 3053398 h 3053398"/>
                <a:gd name="connsiteX2" fmla="*/ 11477223 w 12213907"/>
                <a:gd name="connsiteY2" fmla="*/ 846305 h 3053398"/>
                <a:gd name="connsiteX3" fmla="*/ 12213907 w 12213907"/>
                <a:gd name="connsiteY3" fmla="*/ 0 h 3053398"/>
                <a:gd name="connsiteX0" fmla="*/ 0 w 12213907"/>
                <a:gd name="connsiteY0" fmla="*/ 1798638 h 3053398"/>
                <a:gd name="connsiteX1" fmla="*/ 6835140 w 12213907"/>
                <a:gd name="connsiteY1" fmla="*/ 3053398 h 3053398"/>
                <a:gd name="connsiteX2" fmla="*/ 11477223 w 12213907"/>
                <a:gd name="connsiteY2" fmla="*/ 846305 h 3053398"/>
                <a:gd name="connsiteX3" fmla="*/ 12213907 w 12213907"/>
                <a:gd name="connsiteY3" fmla="*/ 0 h 3053398"/>
                <a:gd name="connsiteX0" fmla="*/ 0 w 12213907"/>
                <a:gd name="connsiteY0" fmla="*/ 1798638 h 3072215"/>
                <a:gd name="connsiteX1" fmla="*/ 6835140 w 12213907"/>
                <a:gd name="connsiteY1" fmla="*/ 3053398 h 3072215"/>
                <a:gd name="connsiteX2" fmla="*/ 11477223 w 12213907"/>
                <a:gd name="connsiteY2" fmla="*/ 846305 h 3072215"/>
                <a:gd name="connsiteX3" fmla="*/ 12213907 w 12213907"/>
                <a:gd name="connsiteY3" fmla="*/ 0 h 3072215"/>
                <a:gd name="connsiteX0" fmla="*/ 0 w 12286037"/>
                <a:gd name="connsiteY0" fmla="*/ 1879243 h 3152820"/>
                <a:gd name="connsiteX1" fmla="*/ 6835140 w 12286037"/>
                <a:gd name="connsiteY1" fmla="*/ 3134003 h 3152820"/>
                <a:gd name="connsiteX2" fmla="*/ 11477223 w 12286037"/>
                <a:gd name="connsiteY2" fmla="*/ 926910 h 3152820"/>
                <a:gd name="connsiteX3" fmla="*/ 12286037 w 12286037"/>
                <a:gd name="connsiteY3" fmla="*/ 0 h 3152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6037" h="3152820">
                  <a:moveTo>
                    <a:pt x="0" y="1879243"/>
                  </a:moveTo>
                  <a:cubicBezTo>
                    <a:pt x="1889760" y="2442276"/>
                    <a:pt x="5026660" y="2964670"/>
                    <a:pt x="6835140" y="3134003"/>
                  </a:cubicBezTo>
                  <a:cubicBezTo>
                    <a:pt x="8398761" y="3254681"/>
                    <a:pt x="9799712" y="2826460"/>
                    <a:pt x="11477223" y="926910"/>
                  </a:cubicBezTo>
                  <a:cubicBezTo>
                    <a:pt x="11797421" y="532310"/>
                    <a:pt x="12171194" y="139463"/>
                    <a:pt x="12286037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0">
                    <a:schemeClr val="accent6"/>
                  </a:gs>
                  <a:gs pos="100000">
                    <a:schemeClr val="accent2">
                      <a:alpha val="64000"/>
                    </a:schemeClr>
                  </a:gs>
                </a:gsLst>
                <a:lin ang="168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5">
                <a:spcBef>
                  <a:spcPct val="50000"/>
                </a:spcBef>
              </a:pPr>
              <a:endParaRPr lang="de-DE" sz="1600">
                <a:solidFill>
                  <a:srgbClr val="000000"/>
                </a:solidFill>
              </a:endParaRPr>
            </a:p>
          </p:txBody>
        </p:sp>
        <p:sp>
          <p:nvSpPr>
            <p:cNvPr id="56" name="Freihandform: Form 55"/>
            <p:cNvSpPr/>
            <p:nvPr/>
          </p:nvSpPr>
          <p:spPr bwMode="gray">
            <a:xfrm>
              <a:off x="-5079" y="2720751"/>
              <a:ext cx="12296300" cy="2765648"/>
            </a:xfrm>
            <a:custGeom>
              <a:avLst/>
              <a:gdLst>
                <a:gd name="connsiteX0" fmla="*/ 0 w 10048240"/>
                <a:gd name="connsiteY0" fmla="*/ 975360 h 1686560"/>
                <a:gd name="connsiteX1" fmla="*/ 5679440 w 10048240"/>
                <a:gd name="connsiteY1" fmla="*/ 1686560 h 1686560"/>
                <a:gd name="connsiteX2" fmla="*/ 10048240 w 10048240"/>
                <a:gd name="connsiteY2" fmla="*/ 0 h 1686560"/>
                <a:gd name="connsiteX0" fmla="*/ 0 w 10038080"/>
                <a:gd name="connsiteY0" fmla="*/ 944880 h 1686560"/>
                <a:gd name="connsiteX1" fmla="*/ 5669280 w 10038080"/>
                <a:gd name="connsiteY1" fmla="*/ 1686560 h 1686560"/>
                <a:gd name="connsiteX2" fmla="*/ 10038080 w 10038080"/>
                <a:gd name="connsiteY2" fmla="*/ 0 h 1686560"/>
                <a:gd name="connsiteX0" fmla="*/ 0 w 10038080"/>
                <a:gd name="connsiteY0" fmla="*/ 944880 h 1686560"/>
                <a:gd name="connsiteX1" fmla="*/ 5669280 w 10038080"/>
                <a:gd name="connsiteY1" fmla="*/ 1686560 h 1686560"/>
                <a:gd name="connsiteX2" fmla="*/ 10038080 w 10038080"/>
                <a:gd name="connsiteY2" fmla="*/ 0 h 1686560"/>
                <a:gd name="connsiteX0" fmla="*/ 0 w 10038080"/>
                <a:gd name="connsiteY0" fmla="*/ 944880 h 1701275"/>
                <a:gd name="connsiteX1" fmla="*/ 5669280 w 10038080"/>
                <a:gd name="connsiteY1" fmla="*/ 1686560 h 1701275"/>
                <a:gd name="connsiteX2" fmla="*/ 10038080 w 10038080"/>
                <a:gd name="connsiteY2" fmla="*/ 0 h 1701275"/>
                <a:gd name="connsiteX0" fmla="*/ 0 w 10038080"/>
                <a:gd name="connsiteY0" fmla="*/ 944880 h 1686560"/>
                <a:gd name="connsiteX1" fmla="*/ 5669280 w 10038080"/>
                <a:gd name="connsiteY1" fmla="*/ 1686560 h 1686560"/>
                <a:gd name="connsiteX2" fmla="*/ 10038080 w 10038080"/>
                <a:gd name="connsiteY2" fmla="*/ 0 h 1686560"/>
                <a:gd name="connsiteX0" fmla="*/ 0 w 10038080"/>
                <a:gd name="connsiteY0" fmla="*/ 944880 h 1687956"/>
                <a:gd name="connsiteX1" fmla="*/ 5669280 w 10038080"/>
                <a:gd name="connsiteY1" fmla="*/ 1686560 h 1687956"/>
                <a:gd name="connsiteX2" fmla="*/ 10038080 w 10038080"/>
                <a:gd name="connsiteY2" fmla="*/ 0 h 1687956"/>
                <a:gd name="connsiteX0" fmla="*/ 0 w 10038080"/>
                <a:gd name="connsiteY0" fmla="*/ 944880 h 1689729"/>
                <a:gd name="connsiteX1" fmla="*/ 5669280 w 10038080"/>
                <a:gd name="connsiteY1" fmla="*/ 1686560 h 1689729"/>
                <a:gd name="connsiteX2" fmla="*/ 10038080 w 10038080"/>
                <a:gd name="connsiteY2" fmla="*/ 0 h 1689729"/>
                <a:gd name="connsiteX0" fmla="*/ 0 w 10038080"/>
                <a:gd name="connsiteY0" fmla="*/ 944880 h 1689729"/>
                <a:gd name="connsiteX1" fmla="*/ 5669280 w 10038080"/>
                <a:gd name="connsiteY1" fmla="*/ 1686560 h 1689729"/>
                <a:gd name="connsiteX2" fmla="*/ 10038080 w 10038080"/>
                <a:gd name="connsiteY2" fmla="*/ 0 h 1689729"/>
                <a:gd name="connsiteX0" fmla="*/ 0 w 10038080"/>
                <a:gd name="connsiteY0" fmla="*/ 944880 h 1689729"/>
                <a:gd name="connsiteX1" fmla="*/ 5669280 w 10038080"/>
                <a:gd name="connsiteY1" fmla="*/ 1686560 h 1689729"/>
                <a:gd name="connsiteX2" fmla="*/ 10038080 w 10038080"/>
                <a:gd name="connsiteY2" fmla="*/ 0 h 1689729"/>
                <a:gd name="connsiteX0" fmla="*/ 0 w 11120120"/>
                <a:gd name="connsiteY0" fmla="*/ 739140 h 1689729"/>
                <a:gd name="connsiteX1" fmla="*/ 6751320 w 11120120"/>
                <a:gd name="connsiteY1" fmla="*/ 1686560 h 1689729"/>
                <a:gd name="connsiteX2" fmla="*/ 11120120 w 11120120"/>
                <a:gd name="connsiteY2" fmla="*/ 0 h 1689729"/>
                <a:gd name="connsiteX0" fmla="*/ 0 w 11120120"/>
                <a:gd name="connsiteY0" fmla="*/ 739140 h 1689729"/>
                <a:gd name="connsiteX1" fmla="*/ 6751320 w 11120120"/>
                <a:gd name="connsiteY1" fmla="*/ 1686560 h 1689729"/>
                <a:gd name="connsiteX2" fmla="*/ 11120120 w 11120120"/>
                <a:gd name="connsiteY2" fmla="*/ 0 h 1689729"/>
                <a:gd name="connsiteX0" fmla="*/ 0 w 11643995"/>
                <a:gd name="connsiteY0" fmla="*/ 1048702 h 1998142"/>
                <a:gd name="connsiteX1" fmla="*/ 6751320 w 11643995"/>
                <a:gd name="connsiteY1" fmla="*/ 1996122 h 1998142"/>
                <a:gd name="connsiteX2" fmla="*/ 11643995 w 11643995"/>
                <a:gd name="connsiteY2" fmla="*/ 0 h 1998142"/>
                <a:gd name="connsiteX0" fmla="*/ 0 w 12205970"/>
                <a:gd name="connsiteY0" fmla="*/ 1763077 h 2711589"/>
                <a:gd name="connsiteX1" fmla="*/ 6751320 w 12205970"/>
                <a:gd name="connsiteY1" fmla="*/ 2710497 h 2711589"/>
                <a:gd name="connsiteX2" fmla="*/ 12205970 w 12205970"/>
                <a:gd name="connsiteY2" fmla="*/ 0 h 2711589"/>
                <a:gd name="connsiteX0" fmla="*/ 0 w 12205970"/>
                <a:gd name="connsiteY0" fmla="*/ 1763077 h 2714099"/>
                <a:gd name="connsiteX1" fmla="*/ 6751320 w 12205970"/>
                <a:gd name="connsiteY1" fmla="*/ 2710497 h 2714099"/>
                <a:gd name="connsiteX2" fmla="*/ 12205970 w 12205970"/>
                <a:gd name="connsiteY2" fmla="*/ 0 h 2714099"/>
                <a:gd name="connsiteX0" fmla="*/ 0 w 12205970"/>
                <a:gd name="connsiteY0" fmla="*/ 1763077 h 2710497"/>
                <a:gd name="connsiteX1" fmla="*/ 6751320 w 12205970"/>
                <a:gd name="connsiteY1" fmla="*/ 2710497 h 2710497"/>
                <a:gd name="connsiteX2" fmla="*/ 12205970 w 12205970"/>
                <a:gd name="connsiteY2" fmla="*/ 0 h 2710497"/>
                <a:gd name="connsiteX0" fmla="*/ 0 w 12205970"/>
                <a:gd name="connsiteY0" fmla="*/ 1763077 h 2710497"/>
                <a:gd name="connsiteX1" fmla="*/ 6751320 w 12205970"/>
                <a:gd name="connsiteY1" fmla="*/ 2710497 h 2710497"/>
                <a:gd name="connsiteX2" fmla="*/ 12205970 w 12205970"/>
                <a:gd name="connsiteY2" fmla="*/ 0 h 2710497"/>
                <a:gd name="connsiteX0" fmla="*/ 0 w 12205970"/>
                <a:gd name="connsiteY0" fmla="*/ 1763077 h 2710497"/>
                <a:gd name="connsiteX1" fmla="*/ 6751320 w 12205970"/>
                <a:gd name="connsiteY1" fmla="*/ 2710497 h 2710497"/>
                <a:gd name="connsiteX2" fmla="*/ 12205970 w 12205970"/>
                <a:gd name="connsiteY2" fmla="*/ 0 h 2710497"/>
                <a:gd name="connsiteX0" fmla="*/ 0 w 12205970"/>
                <a:gd name="connsiteY0" fmla="*/ 1763077 h 2710497"/>
                <a:gd name="connsiteX1" fmla="*/ 6751320 w 12205970"/>
                <a:gd name="connsiteY1" fmla="*/ 2710497 h 2710497"/>
                <a:gd name="connsiteX2" fmla="*/ 12205970 w 12205970"/>
                <a:gd name="connsiteY2" fmla="*/ 0 h 2710497"/>
                <a:gd name="connsiteX0" fmla="*/ 0 w 12205970"/>
                <a:gd name="connsiteY0" fmla="*/ 1763077 h 2710497"/>
                <a:gd name="connsiteX1" fmla="*/ 6751320 w 12205970"/>
                <a:gd name="connsiteY1" fmla="*/ 2710497 h 2710497"/>
                <a:gd name="connsiteX2" fmla="*/ 12205970 w 12205970"/>
                <a:gd name="connsiteY2" fmla="*/ 0 h 2710497"/>
                <a:gd name="connsiteX0" fmla="*/ 0 w 12205970"/>
                <a:gd name="connsiteY0" fmla="*/ 1763077 h 2710715"/>
                <a:gd name="connsiteX1" fmla="*/ 6751320 w 12205970"/>
                <a:gd name="connsiteY1" fmla="*/ 2710497 h 2710715"/>
                <a:gd name="connsiteX2" fmla="*/ 10017992 w 12205970"/>
                <a:gd name="connsiteY2" fmla="*/ 1809600 h 2710715"/>
                <a:gd name="connsiteX3" fmla="*/ 12205970 w 12205970"/>
                <a:gd name="connsiteY3" fmla="*/ 0 h 2710715"/>
                <a:gd name="connsiteX0" fmla="*/ 0 w 12205970"/>
                <a:gd name="connsiteY0" fmla="*/ 1763077 h 2710677"/>
                <a:gd name="connsiteX1" fmla="*/ 6751320 w 12205970"/>
                <a:gd name="connsiteY1" fmla="*/ 2710497 h 2710677"/>
                <a:gd name="connsiteX2" fmla="*/ 10017992 w 12205970"/>
                <a:gd name="connsiteY2" fmla="*/ 1809600 h 2710677"/>
                <a:gd name="connsiteX3" fmla="*/ 12205970 w 12205970"/>
                <a:gd name="connsiteY3" fmla="*/ 0 h 2710677"/>
                <a:gd name="connsiteX0" fmla="*/ 0 w 12205970"/>
                <a:gd name="connsiteY0" fmla="*/ 1763077 h 2710497"/>
                <a:gd name="connsiteX1" fmla="*/ 6751320 w 12205970"/>
                <a:gd name="connsiteY1" fmla="*/ 2710497 h 2710497"/>
                <a:gd name="connsiteX2" fmla="*/ 10017992 w 12205970"/>
                <a:gd name="connsiteY2" fmla="*/ 1809600 h 2710497"/>
                <a:gd name="connsiteX3" fmla="*/ 12205970 w 12205970"/>
                <a:gd name="connsiteY3" fmla="*/ 0 h 2710497"/>
                <a:gd name="connsiteX0" fmla="*/ 0 w 12282245"/>
                <a:gd name="connsiteY0" fmla="*/ 1818228 h 2765648"/>
                <a:gd name="connsiteX1" fmla="*/ 6751320 w 12282245"/>
                <a:gd name="connsiteY1" fmla="*/ 2765648 h 2765648"/>
                <a:gd name="connsiteX2" fmla="*/ 10017992 w 12282245"/>
                <a:gd name="connsiteY2" fmla="*/ 1864751 h 2765648"/>
                <a:gd name="connsiteX3" fmla="*/ 12282245 w 12282245"/>
                <a:gd name="connsiteY3" fmla="*/ 0 h 2765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82245" h="2765648">
                  <a:moveTo>
                    <a:pt x="0" y="1818228"/>
                  </a:moveTo>
                  <a:cubicBezTo>
                    <a:pt x="2181860" y="2360095"/>
                    <a:pt x="4800600" y="2599701"/>
                    <a:pt x="6751320" y="2765648"/>
                  </a:cubicBezTo>
                  <a:cubicBezTo>
                    <a:pt x="8096342" y="2763082"/>
                    <a:pt x="9347009" y="2216488"/>
                    <a:pt x="10017992" y="1864751"/>
                  </a:cubicBezTo>
                  <a:cubicBezTo>
                    <a:pt x="10927100" y="1413002"/>
                    <a:pt x="11902501" y="305569"/>
                    <a:pt x="12282245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0">
                    <a:schemeClr val="accent6"/>
                  </a:gs>
                  <a:gs pos="100000">
                    <a:schemeClr val="accent2">
                      <a:alpha val="64000"/>
                    </a:schemeClr>
                  </a:gs>
                </a:gsLst>
                <a:lin ang="168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5">
                <a:spcBef>
                  <a:spcPct val="50000"/>
                </a:spcBef>
              </a:pPr>
              <a:endParaRPr lang="de-DE" sz="1600">
                <a:solidFill>
                  <a:srgbClr val="000000"/>
                </a:solidFill>
              </a:endParaRPr>
            </a:p>
          </p:txBody>
        </p:sp>
        <p:sp>
          <p:nvSpPr>
            <p:cNvPr id="57" name="Freihandform: Form 56"/>
            <p:cNvSpPr/>
            <p:nvPr/>
          </p:nvSpPr>
          <p:spPr bwMode="gray">
            <a:xfrm>
              <a:off x="12699" y="3274351"/>
              <a:ext cx="12280026" cy="2144527"/>
            </a:xfrm>
            <a:custGeom>
              <a:avLst/>
              <a:gdLst>
                <a:gd name="connsiteX0" fmla="*/ 0 w 10068560"/>
                <a:gd name="connsiteY0" fmla="*/ 1066800 h 1524000"/>
                <a:gd name="connsiteX1" fmla="*/ 5232400 w 10068560"/>
                <a:gd name="connsiteY1" fmla="*/ 1524000 h 1524000"/>
                <a:gd name="connsiteX2" fmla="*/ 10068560 w 10068560"/>
                <a:gd name="connsiteY2" fmla="*/ 0 h 1524000"/>
                <a:gd name="connsiteX0" fmla="*/ 0 w 10068560"/>
                <a:gd name="connsiteY0" fmla="*/ 1066800 h 1524000"/>
                <a:gd name="connsiteX1" fmla="*/ 5232400 w 10068560"/>
                <a:gd name="connsiteY1" fmla="*/ 1524000 h 1524000"/>
                <a:gd name="connsiteX2" fmla="*/ 10068560 w 10068560"/>
                <a:gd name="connsiteY2" fmla="*/ 0 h 1524000"/>
                <a:gd name="connsiteX0" fmla="*/ 0 w 10068560"/>
                <a:gd name="connsiteY0" fmla="*/ 1066800 h 1525792"/>
                <a:gd name="connsiteX1" fmla="*/ 5232400 w 10068560"/>
                <a:gd name="connsiteY1" fmla="*/ 1524000 h 1525792"/>
                <a:gd name="connsiteX2" fmla="*/ 10068560 w 10068560"/>
                <a:gd name="connsiteY2" fmla="*/ 0 h 1525792"/>
                <a:gd name="connsiteX0" fmla="*/ 0 w 10068560"/>
                <a:gd name="connsiteY0" fmla="*/ 1066800 h 1526483"/>
                <a:gd name="connsiteX1" fmla="*/ 5232400 w 10068560"/>
                <a:gd name="connsiteY1" fmla="*/ 1524000 h 1526483"/>
                <a:gd name="connsiteX2" fmla="*/ 10068560 w 10068560"/>
                <a:gd name="connsiteY2" fmla="*/ 0 h 1526483"/>
                <a:gd name="connsiteX0" fmla="*/ 0 w 10068560"/>
                <a:gd name="connsiteY0" fmla="*/ 1066800 h 1526483"/>
                <a:gd name="connsiteX1" fmla="*/ 5232400 w 10068560"/>
                <a:gd name="connsiteY1" fmla="*/ 1524000 h 1526483"/>
                <a:gd name="connsiteX2" fmla="*/ 10068560 w 10068560"/>
                <a:gd name="connsiteY2" fmla="*/ 0 h 1526483"/>
                <a:gd name="connsiteX0" fmla="*/ 0 w 10068560"/>
                <a:gd name="connsiteY0" fmla="*/ 1066800 h 1527344"/>
                <a:gd name="connsiteX1" fmla="*/ 5232400 w 10068560"/>
                <a:gd name="connsiteY1" fmla="*/ 1524000 h 1527344"/>
                <a:gd name="connsiteX2" fmla="*/ 10068560 w 10068560"/>
                <a:gd name="connsiteY2" fmla="*/ 0 h 1527344"/>
                <a:gd name="connsiteX0" fmla="*/ 0 w 10068560"/>
                <a:gd name="connsiteY0" fmla="*/ 1066800 h 1517225"/>
                <a:gd name="connsiteX1" fmla="*/ 5090160 w 10068560"/>
                <a:gd name="connsiteY1" fmla="*/ 1513840 h 1517225"/>
                <a:gd name="connsiteX2" fmla="*/ 10068560 w 10068560"/>
                <a:gd name="connsiteY2" fmla="*/ 0 h 1517225"/>
                <a:gd name="connsiteX0" fmla="*/ 0 w 10068560"/>
                <a:gd name="connsiteY0" fmla="*/ 1066800 h 1517225"/>
                <a:gd name="connsiteX1" fmla="*/ 5090160 w 10068560"/>
                <a:gd name="connsiteY1" fmla="*/ 1513840 h 1517225"/>
                <a:gd name="connsiteX2" fmla="*/ 10068560 w 10068560"/>
                <a:gd name="connsiteY2" fmla="*/ 0 h 1517225"/>
                <a:gd name="connsiteX0" fmla="*/ 0 w 11112500"/>
                <a:gd name="connsiteY0" fmla="*/ 952500 h 1517225"/>
                <a:gd name="connsiteX1" fmla="*/ 6134100 w 11112500"/>
                <a:gd name="connsiteY1" fmla="*/ 1513840 h 1517225"/>
                <a:gd name="connsiteX2" fmla="*/ 11112500 w 11112500"/>
                <a:gd name="connsiteY2" fmla="*/ 0 h 1517225"/>
                <a:gd name="connsiteX0" fmla="*/ 0 w 12179300"/>
                <a:gd name="connsiteY0" fmla="*/ 1566862 h 2130146"/>
                <a:gd name="connsiteX1" fmla="*/ 6134100 w 12179300"/>
                <a:gd name="connsiteY1" fmla="*/ 2128202 h 2130146"/>
                <a:gd name="connsiteX2" fmla="*/ 12179300 w 12179300"/>
                <a:gd name="connsiteY2" fmla="*/ 0 h 2130146"/>
                <a:gd name="connsiteX0" fmla="*/ 0 w 12179300"/>
                <a:gd name="connsiteY0" fmla="*/ 1566862 h 2131859"/>
                <a:gd name="connsiteX1" fmla="*/ 6134100 w 12179300"/>
                <a:gd name="connsiteY1" fmla="*/ 2128202 h 2131859"/>
                <a:gd name="connsiteX2" fmla="*/ 12179300 w 12179300"/>
                <a:gd name="connsiteY2" fmla="*/ 0 h 2131859"/>
                <a:gd name="connsiteX0" fmla="*/ 0 w 12217286"/>
                <a:gd name="connsiteY0" fmla="*/ 1579589 h 2144527"/>
                <a:gd name="connsiteX1" fmla="*/ 6134100 w 12217286"/>
                <a:gd name="connsiteY1" fmla="*/ 2140929 h 2144527"/>
                <a:gd name="connsiteX2" fmla="*/ 12217286 w 12217286"/>
                <a:gd name="connsiteY2" fmla="*/ 0 h 2144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17286" h="2144527">
                  <a:moveTo>
                    <a:pt x="0" y="1579589"/>
                  </a:moveTo>
                  <a:cubicBezTo>
                    <a:pt x="1774613" y="1833589"/>
                    <a:pt x="4532207" y="2161249"/>
                    <a:pt x="6134100" y="2140929"/>
                  </a:cubicBezTo>
                  <a:cubicBezTo>
                    <a:pt x="7857913" y="2201889"/>
                    <a:pt x="9803545" y="1488440"/>
                    <a:pt x="1221728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0">
                    <a:schemeClr val="accent6"/>
                  </a:gs>
                  <a:gs pos="100000">
                    <a:schemeClr val="accent2">
                      <a:alpha val="64000"/>
                    </a:schemeClr>
                  </a:gs>
                </a:gsLst>
                <a:lin ang="168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5">
                <a:spcBef>
                  <a:spcPct val="50000"/>
                </a:spcBef>
              </a:pPr>
              <a:endParaRPr lang="de-DE" sz="1600">
                <a:solidFill>
                  <a:srgbClr val="000000"/>
                </a:solidFill>
              </a:endParaRPr>
            </a:p>
          </p:txBody>
        </p:sp>
        <p:sp>
          <p:nvSpPr>
            <p:cNvPr id="58" name="Freihandform: Form 57"/>
            <p:cNvSpPr/>
            <p:nvPr/>
          </p:nvSpPr>
          <p:spPr bwMode="gray">
            <a:xfrm>
              <a:off x="7620" y="3548034"/>
              <a:ext cx="12281988" cy="1867245"/>
            </a:xfrm>
            <a:custGeom>
              <a:avLst/>
              <a:gdLst>
                <a:gd name="connsiteX0" fmla="*/ 0 w 10078720"/>
                <a:gd name="connsiteY0" fmla="*/ 1188720 h 1422400"/>
                <a:gd name="connsiteX1" fmla="*/ 4978400 w 10078720"/>
                <a:gd name="connsiteY1" fmla="*/ 1422400 h 1422400"/>
                <a:gd name="connsiteX2" fmla="*/ 10078720 w 10078720"/>
                <a:gd name="connsiteY2" fmla="*/ 0 h 1422400"/>
                <a:gd name="connsiteX0" fmla="*/ 0 w 10078720"/>
                <a:gd name="connsiteY0" fmla="*/ 1188720 h 1422400"/>
                <a:gd name="connsiteX1" fmla="*/ 4978400 w 10078720"/>
                <a:gd name="connsiteY1" fmla="*/ 1422400 h 1422400"/>
                <a:gd name="connsiteX2" fmla="*/ 10078720 w 10078720"/>
                <a:gd name="connsiteY2" fmla="*/ 0 h 1422400"/>
                <a:gd name="connsiteX0" fmla="*/ 0 w 10078720"/>
                <a:gd name="connsiteY0" fmla="*/ 1188720 h 1422400"/>
                <a:gd name="connsiteX1" fmla="*/ 4978400 w 10078720"/>
                <a:gd name="connsiteY1" fmla="*/ 1422400 h 1422400"/>
                <a:gd name="connsiteX2" fmla="*/ 10078720 w 10078720"/>
                <a:gd name="connsiteY2" fmla="*/ 0 h 1422400"/>
                <a:gd name="connsiteX0" fmla="*/ 0 w 10078720"/>
                <a:gd name="connsiteY0" fmla="*/ 1188720 h 1422400"/>
                <a:gd name="connsiteX1" fmla="*/ 4978400 w 10078720"/>
                <a:gd name="connsiteY1" fmla="*/ 1422400 h 1422400"/>
                <a:gd name="connsiteX2" fmla="*/ 10078720 w 10078720"/>
                <a:gd name="connsiteY2" fmla="*/ 0 h 1422400"/>
                <a:gd name="connsiteX0" fmla="*/ 0 w 10078720"/>
                <a:gd name="connsiteY0" fmla="*/ 1188720 h 1402080"/>
                <a:gd name="connsiteX1" fmla="*/ 4348480 w 10078720"/>
                <a:gd name="connsiteY1" fmla="*/ 1402080 h 1402080"/>
                <a:gd name="connsiteX2" fmla="*/ 10078720 w 10078720"/>
                <a:gd name="connsiteY2" fmla="*/ 0 h 1402080"/>
                <a:gd name="connsiteX0" fmla="*/ 0 w 10078720"/>
                <a:gd name="connsiteY0" fmla="*/ 1188720 h 1402080"/>
                <a:gd name="connsiteX1" fmla="*/ 4348480 w 10078720"/>
                <a:gd name="connsiteY1" fmla="*/ 1402080 h 1402080"/>
                <a:gd name="connsiteX2" fmla="*/ 10078720 w 10078720"/>
                <a:gd name="connsiteY2" fmla="*/ 0 h 1402080"/>
                <a:gd name="connsiteX0" fmla="*/ 0 w 11137900"/>
                <a:gd name="connsiteY0" fmla="*/ 1196340 h 1402080"/>
                <a:gd name="connsiteX1" fmla="*/ 5407660 w 11137900"/>
                <a:gd name="connsiteY1" fmla="*/ 1402080 h 1402080"/>
                <a:gd name="connsiteX2" fmla="*/ 11137900 w 11137900"/>
                <a:gd name="connsiteY2" fmla="*/ 0 h 1402080"/>
                <a:gd name="connsiteX0" fmla="*/ 0 w 11137900"/>
                <a:gd name="connsiteY0" fmla="*/ 1196340 h 1402080"/>
                <a:gd name="connsiteX1" fmla="*/ 5407660 w 11137900"/>
                <a:gd name="connsiteY1" fmla="*/ 1402080 h 1402080"/>
                <a:gd name="connsiteX2" fmla="*/ 11137900 w 11137900"/>
                <a:gd name="connsiteY2" fmla="*/ 0 h 1402080"/>
                <a:gd name="connsiteX0" fmla="*/ 0 w 12180888"/>
                <a:gd name="connsiteY0" fmla="*/ 1648778 h 1854518"/>
                <a:gd name="connsiteX1" fmla="*/ 5407660 w 12180888"/>
                <a:gd name="connsiteY1" fmla="*/ 1854518 h 1854518"/>
                <a:gd name="connsiteX2" fmla="*/ 12180888 w 12180888"/>
                <a:gd name="connsiteY2" fmla="*/ 0 h 1854518"/>
                <a:gd name="connsiteX0" fmla="*/ 0 w 12180888"/>
                <a:gd name="connsiteY0" fmla="*/ 1648778 h 1854518"/>
                <a:gd name="connsiteX1" fmla="*/ 5407660 w 12180888"/>
                <a:gd name="connsiteY1" fmla="*/ 1854518 h 1854518"/>
                <a:gd name="connsiteX2" fmla="*/ 12180888 w 12180888"/>
                <a:gd name="connsiteY2" fmla="*/ 0 h 1854518"/>
                <a:gd name="connsiteX0" fmla="*/ 0 w 12180888"/>
                <a:gd name="connsiteY0" fmla="*/ 1648778 h 1854518"/>
                <a:gd name="connsiteX1" fmla="*/ 5407660 w 12180888"/>
                <a:gd name="connsiteY1" fmla="*/ 1854518 h 1854518"/>
                <a:gd name="connsiteX2" fmla="*/ 12180888 w 12180888"/>
                <a:gd name="connsiteY2" fmla="*/ 0 h 1854518"/>
                <a:gd name="connsiteX0" fmla="*/ 0 w 12180888"/>
                <a:gd name="connsiteY0" fmla="*/ 1648778 h 1854518"/>
                <a:gd name="connsiteX1" fmla="*/ 5407660 w 12180888"/>
                <a:gd name="connsiteY1" fmla="*/ 1854518 h 1854518"/>
                <a:gd name="connsiteX2" fmla="*/ 12180888 w 12180888"/>
                <a:gd name="connsiteY2" fmla="*/ 0 h 1854518"/>
                <a:gd name="connsiteX0" fmla="*/ 0 w 12180888"/>
                <a:gd name="connsiteY0" fmla="*/ 1648778 h 1854518"/>
                <a:gd name="connsiteX1" fmla="*/ 5407660 w 12180888"/>
                <a:gd name="connsiteY1" fmla="*/ 1854518 h 1854518"/>
                <a:gd name="connsiteX2" fmla="*/ 12180888 w 12180888"/>
                <a:gd name="connsiteY2" fmla="*/ 0 h 1854518"/>
                <a:gd name="connsiteX0" fmla="*/ 0 w 12180888"/>
                <a:gd name="connsiteY0" fmla="*/ 1648778 h 1854518"/>
                <a:gd name="connsiteX1" fmla="*/ 5407660 w 12180888"/>
                <a:gd name="connsiteY1" fmla="*/ 1854518 h 1854518"/>
                <a:gd name="connsiteX2" fmla="*/ 12180888 w 12180888"/>
                <a:gd name="connsiteY2" fmla="*/ 0 h 1854518"/>
                <a:gd name="connsiteX0" fmla="*/ 0 w 12244328"/>
                <a:gd name="connsiteY0" fmla="*/ 1661505 h 1867245"/>
                <a:gd name="connsiteX1" fmla="*/ 5407660 w 12244328"/>
                <a:gd name="connsiteY1" fmla="*/ 1867245 h 1867245"/>
                <a:gd name="connsiteX2" fmla="*/ 12244328 w 12244328"/>
                <a:gd name="connsiteY2" fmla="*/ 0 h 1867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44328" h="1867245">
                  <a:moveTo>
                    <a:pt x="0" y="1661505"/>
                  </a:moveTo>
                  <a:cubicBezTo>
                    <a:pt x="1268307" y="1691138"/>
                    <a:pt x="3717713" y="1829992"/>
                    <a:pt x="5407660" y="1867245"/>
                  </a:cubicBezTo>
                  <a:cubicBezTo>
                    <a:pt x="9155325" y="1503603"/>
                    <a:pt x="10439447" y="844973"/>
                    <a:pt x="12244328" y="0"/>
                  </a:cubicBezTo>
                </a:path>
              </a:pathLst>
            </a:custGeom>
            <a:noFill/>
            <a:ln w="12700" cap="flat" cmpd="sng" algn="ctr">
              <a:gradFill>
                <a:gsLst>
                  <a:gs pos="0">
                    <a:schemeClr val="accent6"/>
                  </a:gs>
                  <a:gs pos="100000">
                    <a:schemeClr val="accent2">
                      <a:alpha val="64000"/>
                    </a:schemeClr>
                  </a:gs>
                </a:gsLst>
                <a:lin ang="168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5">
                <a:spcBef>
                  <a:spcPct val="50000"/>
                </a:spcBef>
              </a:pPr>
              <a:endParaRPr lang="de-DE" sz="1600">
                <a:solidFill>
                  <a:srgbClr val="000000"/>
                </a:solidFill>
              </a:endParaRPr>
            </a:p>
          </p:txBody>
        </p:sp>
        <p:sp>
          <p:nvSpPr>
            <p:cNvPr id="59" name="Freihandform: Form 58"/>
            <p:cNvSpPr/>
            <p:nvPr/>
          </p:nvSpPr>
          <p:spPr bwMode="gray">
            <a:xfrm>
              <a:off x="-17779" y="3819154"/>
              <a:ext cx="12304646" cy="1661857"/>
            </a:xfrm>
            <a:custGeom>
              <a:avLst/>
              <a:gdLst>
                <a:gd name="connsiteX0" fmla="*/ 0 w 10058400"/>
                <a:gd name="connsiteY0" fmla="*/ 1280160 h 1280160"/>
                <a:gd name="connsiteX1" fmla="*/ 3810000 w 10058400"/>
                <a:gd name="connsiteY1" fmla="*/ 1259840 h 1280160"/>
                <a:gd name="connsiteX2" fmla="*/ 10058400 w 10058400"/>
                <a:gd name="connsiteY2" fmla="*/ 0 h 1280160"/>
                <a:gd name="connsiteX0" fmla="*/ 0 w 10058400"/>
                <a:gd name="connsiteY0" fmla="*/ 1280160 h 1280160"/>
                <a:gd name="connsiteX1" fmla="*/ 3810000 w 10058400"/>
                <a:gd name="connsiteY1" fmla="*/ 1259840 h 1280160"/>
                <a:gd name="connsiteX2" fmla="*/ 10058400 w 10058400"/>
                <a:gd name="connsiteY2" fmla="*/ 0 h 1280160"/>
                <a:gd name="connsiteX0" fmla="*/ 0 w 10058400"/>
                <a:gd name="connsiteY0" fmla="*/ 1280160 h 1280160"/>
                <a:gd name="connsiteX1" fmla="*/ 3810000 w 10058400"/>
                <a:gd name="connsiteY1" fmla="*/ 1259840 h 1280160"/>
                <a:gd name="connsiteX2" fmla="*/ 10058400 w 10058400"/>
                <a:gd name="connsiteY2" fmla="*/ 0 h 1280160"/>
                <a:gd name="connsiteX0" fmla="*/ 0 w 11102340"/>
                <a:gd name="connsiteY0" fmla="*/ 1440180 h 1440180"/>
                <a:gd name="connsiteX1" fmla="*/ 4853940 w 11102340"/>
                <a:gd name="connsiteY1" fmla="*/ 1259840 h 1440180"/>
                <a:gd name="connsiteX2" fmla="*/ 11102340 w 11102340"/>
                <a:gd name="connsiteY2" fmla="*/ 0 h 1440180"/>
                <a:gd name="connsiteX0" fmla="*/ 0 w 11102340"/>
                <a:gd name="connsiteY0" fmla="*/ 1440180 h 1440180"/>
                <a:gd name="connsiteX1" fmla="*/ 4853940 w 11102340"/>
                <a:gd name="connsiteY1" fmla="*/ 1259840 h 1440180"/>
                <a:gd name="connsiteX2" fmla="*/ 11102340 w 11102340"/>
                <a:gd name="connsiteY2" fmla="*/ 0 h 1440180"/>
                <a:gd name="connsiteX0" fmla="*/ 0 w 11117580"/>
                <a:gd name="connsiteY0" fmla="*/ 1394460 h 1394460"/>
                <a:gd name="connsiteX1" fmla="*/ 4869180 w 11117580"/>
                <a:gd name="connsiteY1" fmla="*/ 1259840 h 1394460"/>
                <a:gd name="connsiteX2" fmla="*/ 11117580 w 11117580"/>
                <a:gd name="connsiteY2" fmla="*/ 0 h 1394460"/>
                <a:gd name="connsiteX0" fmla="*/ 0 w 11117580"/>
                <a:gd name="connsiteY0" fmla="*/ 1394460 h 1394460"/>
                <a:gd name="connsiteX1" fmla="*/ 4869180 w 11117580"/>
                <a:gd name="connsiteY1" fmla="*/ 1259840 h 1394460"/>
                <a:gd name="connsiteX2" fmla="*/ 11117580 w 11117580"/>
                <a:gd name="connsiteY2" fmla="*/ 0 h 1394460"/>
                <a:gd name="connsiteX0" fmla="*/ 0 w 11117580"/>
                <a:gd name="connsiteY0" fmla="*/ 1371600 h 1371600"/>
                <a:gd name="connsiteX1" fmla="*/ 4869180 w 11117580"/>
                <a:gd name="connsiteY1" fmla="*/ 1259840 h 1371600"/>
                <a:gd name="connsiteX2" fmla="*/ 11117580 w 11117580"/>
                <a:gd name="connsiteY2" fmla="*/ 0 h 1371600"/>
                <a:gd name="connsiteX0" fmla="*/ 0 w 11117580"/>
                <a:gd name="connsiteY0" fmla="*/ 1371600 h 1371600"/>
                <a:gd name="connsiteX1" fmla="*/ 4869180 w 11117580"/>
                <a:gd name="connsiteY1" fmla="*/ 1259840 h 1371600"/>
                <a:gd name="connsiteX2" fmla="*/ 11117580 w 11117580"/>
                <a:gd name="connsiteY2" fmla="*/ 0 h 1371600"/>
                <a:gd name="connsiteX0" fmla="*/ 0 w 11117580"/>
                <a:gd name="connsiteY0" fmla="*/ 1371600 h 1371600"/>
                <a:gd name="connsiteX1" fmla="*/ 4869180 w 11117580"/>
                <a:gd name="connsiteY1" fmla="*/ 1259840 h 1371600"/>
                <a:gd name="connsiteX2" fmla="*/ 11117580 w 11117580"/>
                <a:gd name="connsiteY2" fmla="*/ 0 h 1371600"/>
                <a:gd name="connsiteX0" fmla="*/ 0 w 11117580"/>
                <a:gd name="connsiteY0" fmla="*/ 1371600 h 1371600"/>
                <a:gd name="connsiteX1" fmla="*/ 4869180 w 11117580"/>
                <a:gd name="connsiteY1" fmla="*/ 1259840 h 1371600"/>
                <a:gd name="connsiteX2" fmla="*/ 11117580 w 11117580"/>
                <a:gd name="connsiteY2" fmla="*/ 0 h 1371600"/>
                <a:gd name="connsiteX0" fmla="*/ 0 w 11132820"/>
                <a:gd name="connsiteY0" fmla="*/ 1341120 h 1341120"/>
                <a:gd name="connsiteX1" fmla="*/ 4884420 w 11132820"/>
                <a:gd name="connsiteY1" fmla="*/ 1259840 h 1341120"/>
                <a:gd name="connsiteX2" fmla="*/ 11132820 w 11132820"/>
                <a:gd name="connsiteY2" fmla="*/ 0 h 1341120"/>
                <a:gd name="connsiteX0" fmla="*/ 0 w 11132820"/>
                <a:gd name="connsiteY0" fmla="*/ 1341120 h 1345890"/>
                <a:gd name="connsiteX1" fmla="*/ 4884420 w 11132820"/>
                <a:gd name="connsiteY1" fmla="*/ 1259840 h 1345890"/>
                <a:gd name="connsiteX2" fmla="*/ 11132820 w 11132820"/>
                <a:gd name="connsiteY2" fmla="*/ 0 h 1345890"/>
                <a:gd name="connsiteX0" fmla="*/ 0 w 12209145"/>
                <a:gd name="connsiteY0" fmla="*/ 1631632 h 1636402"/>
                <a:gd name="connsiteX1" fmla="*/ 4884420 w 12209145"/>
                <a:gd name="connsiteY1" fmla="*/ 1550352 h 1636402"/>
                <a:gd name="connsiteX2" fmla="*/ 12209145 w 12209145"/>
                <a:gd name="connsiteY2" fmla="*/ 0 h 1636402"/>
                <a:gd name="connsiteX0" fmla="*/ 0 w 12209145"/>
                <a:gd name="connsiteY0" fmla="*/ 1631632 h 1636402"/>
                <a:gd name="connsiteX1" fmla="*/ 4884420 w 12209145"/>
                <a:gd name="connsiteY1" fmla="*/ 1550352 h 1636402"/>
                <a:gd name="connsiteX2" fmla="*/ 12209145 w 12209145"/>
                <a:gd name="connsiteY2" fmla="*/ 0 h 1636402"/>
                <a:gd name="connsiteX0" fmla="*/ 0 w 12209145"/>
                <a:gd name="connsiteY0" fmla="*/ 1631632 h 1636402"/>
                <a:gd name="connsiteX1" fmla="*/ 4884420 w 12209145"/>
                <a:gd name="connsiteY1" fmla="*/ 1550352 h 1636402"/>
                <a:gd name="connsiteX2" fmla="*/ 12209145 w 12209145"/>
                <a:gd name="connsiteY2" fmla="*/ 0 h 1636402"/>
                <a:gd name="connsiteX0" fmla="*/ 0 w 12264171"/>
                <a:gd name="connsiteY0" fmla="*/ 1648601 h 1653371"/>
                <a:gd name="connsiteX1" fmla="*/ 4884420 w 12264171"/>
                <a:gd name="connsiteY1" fmla="*/ 1567321 h 1653371"/>
                <a:gd name="connsiteX2" fmla="*/ 12264171 w 12264171"/>
                <a:gd name="connsiteY2" fmla="*/ 0 h 1653371"/>
                <a:gd name="connsiteX0" fmla="*/ 0 w 12276869"/>
                <a:gd name="connsiteY0" fmla="*/ 1657086 h 1661856"/>
                <a:gd name="connsiteX1" fmla="*/ 4884420 w 12276869"/>
                <a:gd name="connsiteY1" fmla="*/ 1575806 h 1661856"/>
                <a:gd name="connsiteX2" fmla="*/ 12276869 w 12276869"/>
                <a:gd name="connsiteY2" fmla="*/ 0 h 1661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76869" h="1661856">
                  <a:moveTo>
                    <a:pt x="0" y="1657086"/>
                  </a:moveTo>
                  <a:cubicBezTo>
                    <a:pt x="703580" y="1665553"/>
                    <a:pt x="3708400" y="1674019"/>
                    <a:pt x="4884420" y="1575806"/>
                  </a:cubicBezTo>
                  <a:cubicBezTo>
                    <a:pt x="8420417" y="1230472"/>
                    <a:pt x="10353771" y="520277"/>
                    <a:pt x="12276869" y="0"/>
                  </a:cubicBezTo>
                </a:path>
              </a:pathLst>
            </a:custGeom>
            <a:noFill/>
            <a:ln w="19050" cap="flat" cmpd="sng" algn="ctr">
              <a:gradFill>
                <a:gsLst>
                  <a:gs pos="0">
                    <a:schemeClr val="accent6"/>
                  </a:gs>
                  <a:gs pos="100000">
                    <a:schemeClr val="accent2">
                      <a:alpha val="64000"/>
                    </a:schemeClr>
                  </a:gs>
                </a:gsLst>
                <a:lin ang="168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5">
                <a:spcBef>
                  <a:spcPct val="50000"/>
                </a:spcBef>
              </a:pPr>
              <a:endParaRPr lang="de-DE" sz="1600">
                <a:solidFill>
                  <a:srgbClr val="000000"/>
                </a:solidFill>
              </a:endParaRPr>
            </a:p>
          </p:txBody>
        </p:sp>
        <p:sp>
          <p:nvSpPr>
            <p:cNvPr id="60" name="Freihandform: Form 59"/>
            <p:cNvSpPr/>
            <p:nvPr/>
          </p:nvSpPr>
          <p:spPr bwMode="gray">
            <a:xfrm>
              <a:off x="12701" y="4065416"/>
              <a:ext cx="12267958" cy="1761342"/>
            </a:xfrm>
            <a:custGeom>
              <a:avLst/>
              <a:gdLst>
                <a:gd name="connsiteX0" fmla="*/ 0 w 10068560"/>
                <a:gd name="connsiteY0" fmla="*/ 1371600 h 1371600"/>
                <a:gd name="connsiteX1" fmla="*/ 2773680 w 10068560"/>
                <a:gd name="connsiteY1" fmla="*/ 1137920 h 1371600"/>
                <a:gd name="connsiteX2" fmla="*/ 10068560 w 10068560"/>
                <a:gd name="connsiteY2" fmla="*/ 0 h 1371600"/>
                <a:gd name="connsiteX0" fmla="*/ 0 w 10068560"/>
                <a:gd name="connsiteY0" fmla="*/ 1371600 h 1371600"/>
                <a:gd name="connsiteX1" fmla="*/ 2773680 w 10068560"/>
                <a:gd name="connsiteY1" fmla="*/ 1137920 h 1371600"/>
                <a:gd name="connsiteX2" fmla="*/ 10068560 w 10068560"/>
                <a:gd name="connsiteY2" fmla="*/ 0 h 1371600"/>
                <a:gd name="connsiteX0" fmla="*/ 0 w 10068560"/>
                <a:gd name="connsiteY0" fmla="*/ 1371600 h 1371600"/>
                <a:gd name="connsiteX1" fmla="*/ 2773680 w 10068560"/>
                <a:gd name="connsiteY1" fmla="*/ 1137920 h 1371600"/>
                <a:gd name="connsiteX2" fmla="*/ 10068560 w 10068560"/>
                <a:gd name="connsiteY2" fmla="*/ 0 h 1371600"/>
                <a:gd name="connsiteX0" fmla="*/ 0 w 11112500"/>
                <a:gd name="connsiteY0" fmla="*/ 1569720 h 1569720"/>
                <a:gd name="connsiteX1" fmla="*/ 3817620 w 11112500"/>
                <a:gd name="connsiteY1" fmla="*/ 1137920 h 1569720"/>
                <a:gd name="connsiteX2" fmla="*/ 11112500 w 11112500"/>
                <a:gd name="connsiteY2" fmla="*/ 0 h 1569720"/>
                <a:gd name="connsiteX0" fmla="*/ 0 w 11112500"/>
                <a:gd name="connsiteY0" fmla="*/ 1569720 h 1569720"/>
                <a:gd name="connsiteX1" fmla="*/ 3817620 w 11112500"/>
                <a:gd name="connsiteY1" fmla="*/ 1137920 h 1569720"/>
                <a:gd name="connsiteX2" fmla="*/ 11112500 w 11112500"/>
                <a:gd name="connsiteY2" fmla="*/ 0 h 1569720"/>
                <a:gd name="connsiteX0" fmla="*/ 0 w 12188825"/>
                <a:gd name="connsiteY0" fmla="*/ 1731645 h 1731645"/>
                <a:gd name="connsiteX1" fmla="*/ 3817620 w 12188825"/>
                <a:gd name="connsiteY1" fmla="*/ 1299845 h 1731645"/>
                <a:gd name="connsiteX2" fmla="*/ 12188825 w 12188825"/>
                <a:gd name="connsiteY2" fmla="*/ 0 h 1731645"/>
                <a:gd name="connsiteX0" fmla="*/ 0 w 12188825"/>
                <a:gd name="connsiteY0" fmla="*/ 1731645 h 1731645"/>
                <a:gd name="connsiteX1" fmla="*/ 3817620 w 12188825"/>
                <a:gd name="connsiteY1" fmla="*/ 1299845 h 1731645"/>
                <a:gd name="connsiteX2" fmla="*/ 12188825 w 12188825"/>
                <a:gd name="connsiteY2" fmla="*/ 0 h 1731645"/>
                <a:gd name="connsiteX0" fmla="*/ 0 w 12188825"/>
                <a:gd name="connsiteY0" fmla="*/ 1731645 h 1731645"/>
                <a:gd name="connsiteX1" fmla="*/ 3817620 w 12188825"/>
                <a:gd name="connsiteY1" fmla="*/ 1299845 h 1731645"/>
                <a:gd name="connsiteX2" fmla="*/ 12188825 w 12188825"/>
                <a:gd name="connsiteY2" fmla="*/ 0 h 1731645"/>
                <a:gd name="connsiteX0" fmla="*/ 0 w 12188825"/>
                <a:gd name="connsiteY0" fmla="*/ 1731645 h 1731645"/>
                <a:gd name="connsiteX1" fmla="*/ 3817620 w 12188825"/>
                <a:gd name="connsiteY1" fmla="*/ 1299845 h 1731645"/>
                <a:gd name="connsiteX2" fmla="*/ 12188825 w 12188825"/>
                <a:gd name="connsiteY2" fmla="*/ 0 h 1731645"/>
                <a:gd name="connsiteX0" fmla="*/ 0 w 12188825"/>
                <a:gd name="connsiteY0" fmla="*/ 1731645 h 1731645"/>
                <a:gd name="connsiteX1" fmla="*/ 3817620 w 12188825"/>
                <a:gd name="connsiteY1" fmla="*/ 1299845 h 1731645"/>
                <a:gd name="connsiteX2" fmla="*/ 12188825 w 12188825"/>
                <a:gd name="connsiteY2" fmla="*/ 0 h 1731645"/>
                <a:gd name="connsiteX0" fmla="*/ 0 w 12188825"/>
                <a:gd name="connsiteY0" fmla="*/ 1731645 h 1731645"/>
                <a:gd name="connsiteX1" fmla="*/ 3817620 w 12188825"/>
                <a:gd name="connsiteY1" fmla="*/ 1299845 h 1731645"/>
                <a:gd name="connsiteX2" fmla="*/ 12188825 w 12188825"/>
                <a:gd name="connsiteY2" fmla="*/ 0 h 1731645"/>
                <a:gd name="connsiteX0" fmla="*/ 0 w 12273712"/>
                <a:gd name="connsiteY0" fmla="*/ 1761342 h 1761342"/>
                <a:gd name="connsiteX1" fmla="*/ 3817620 w 12273712"/>
                <a:gd name="connsiteY1" fmla="*/ 1329542 h 1761342"/>
                <a:gd name="connsiteX2" fmla="*/ 12273712 w 12273712"/>
                <a:gd name="connsiteY2" fmla="*/ 0 h 1761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73712" h="1761342">
                  <a:moveTo>
                    <a:pt x="0" y="1761342"/>
                  </a:moveTo>
                  <a:cubicBezTo>
                    <a:pt x="1150620" y="1487869"/>
                    <a:pt x="2545080" y="1473475"/>
                    <a:pt x="3817620" y="1329542"/>
                  </a:cubicBezTo>
                  <a:cubicBezTo>
                    <a:pt x="6459432" y="1136607"/>
                    <a:pt x="9482992" y="457729"/>
                    <a:pt x="12273712" y="0"/>
                  </a:cubicBezTo>
                </a:path>
              </a:pathLst>
            </a:custGeom>
            <a:noFill/>
            <a:ln w="28575" cap="flat" cmpd="sng" algn="ctr">
              <a:gradFill>
                <a:gsLst>
                  <a:gs pos="0">
                    <a:schemeClr val="accent6"/>
                  </a:gs>
                  <a:gs pos="100000">
                    <a:schemeClr val="accent2">
                      <a:alpha val="64000"/>
                    </a:schemeClr>
                  </a:gs>
                </a:gsLst>
                <a:lin ang="168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5">
                <a:spcBef>
                  <a:spcPct val="50000"/>
                </a:spcBef>
              </a:pPr>
              <a:endParaRPr lang="de-DE" sz="1600">
                <a:solidFill>
                  <a:srgbClr val="000000"/>
                </a:solidFill>
              </a:endParaRPr>
            </a:p>
          </p:txBody>
        </p:sp>
        <p:sp>
          <p:nvSpPr>
            <p:cNvPr id="61" name="Freihandform: Form 60"/>
            <p:cNvSpPr/>
            <p:nvPr/>
          </p:nvSpPr>
          <p:spPr bwMode="gray">
            <a:xfrm>
              <a:off x="17778" y="4213833"/>
              <a:ext cx="12260714" cy="1889788"/>
            </a:xfrm>
            <a:custGeom>
              <a:avLst/>
              <a:gdLst>
                <a:gd name="connsiteX0" fmla="*/ 0 w 10048240"/>
                <a:gd name="connsiteY0" fmla="*/ 1473200 h 1473200"/>
                <a:gd name="connsiteX1" fmla="*/ 2336800 w 10048240"/>
                <a:gd name="connsiteY1" fmla="*/ 1016000 h 1473200"/>
                <a:gd name="connsiteX2" fmla="*/ 10048240 w 10048240"/>
                <a:gd name="connsiteY2" fmla="*/ 0 h 1473200"/>
                <a:gd name="connsiteX0" fmla="*/ 0 w 10048240"/>
                <a:gd name="connsiteY0" fmla="*/ 1473200 h 1473200"/>
                <a:gd name="connsiteX1" fmla="*/ 2336800 w 10048240"/>
                <a:gd name="connsiteY1" fmla="*/ 1016000 h 1473200"/>
                <a:gd name="connsiteX2" fmla="*/ 10048240 w 10048240"/>
                <a:gd name="connsiteY2" fmla="*/ 0 h 1473200"/>
                <a:gd name="connsiteX0" fmla="*/ 0 w 10048240"/>
                <a:gd name="connsiteY0" fmla="*/ 1473200 h 1473200"/>
                <a:gd name="connsiteX1" fmla="*/ 2336800 w 10048240"/>
                <a:gd name="connsiteY1" fmla="*/ 1016000 h 1473200"/>
                <a:gd name="connsiteX2" fmla="*/ 10048240 w 10048240"/>
                <a:gd name="connsiteY2" fmla="*/ 0 h 1473200"/>
                <a:gd name="connsiteX0" fmla="*/ 0 w 11107420"/>
                <a:gd name="connsiteY0" fmla="*/ 1724660 h 1724660"/>
                <a:gd name="connsiteX1" fmla="*/ 3395980 w 11107420"/>
                <a:gd name="connsiteY1" fmla="*/ 1016000 h 1724660"/>
                <a:gd name="connsiteX2" fmla="*/ 11107420 w 11107420"/>
                <a:gd name="connsiteY2" fmla="*/ 0 h 1724660"/>
                <a:gd name="connsiteX0" fmla="*/ 0 w 11107420"/>
                <a:gd name="connsiteY0" fmla="*/ 1724660 h 1724660"/>
                <a:gd name="connsiteX1" fmla="*/ 3395980 w 11107420"/>
                <a:gd name="connsiteY1" fmla="*/ 1016000 h 1724660"/>
                <a:gd name="connsiteX2" fmla="*/ 11107420 w 11107420"/>
                <a:gd name="connsiteY2" fmla="*/ 0 h 1724660"/>
                <a:gd name="connsiteX0" fmla="*/ 0 w 12193270"/>
                <a:gd name="connsiteY0" fmla="*/ 1877060 h 1877060"/>
                <a:gd name="connsiteX1" fmla="*/ 3395980 w 12193270"/>
                <a:gd name="connsiteY1" fmla="*/ 1168400 h 1877060"/>
                <a:gd name="connsiteX2" fmla="*/ 12193270 w 12193270"/>
                <a:gd name="connsiteY2" fmla="*/ 0 h 1877060"/>
                <a:gd name="connsiteX0" fmla="*/ 0 w 12193270"/>
                <a:gd name="connsiteY0" fmla="*/ 1877060 h 1877060"/>
                <a:gd name="connsiteX1" fmla="*/ 3395980 w 12193270"/>
                <a:gd name="connsiteY1" fmla="*/ 1168400 h 1877060"/>
                <a:gd name="connsiteX2" fmla="*/ 12193270 w 12193270"/>
                <a:gd name="connsiteY2" fmla="*/ 0 h 1877060"/>
                <a:gd name="connsiteX0" fmla="*/ 0 w 12256886"/>
                <a:gd name="connsiteY0" fmla="*/ 1889787 h 1889787"/>
                <a:gd name="connsiteX1" fmla="*/ 3395980 w 12256886"/>
                <a:gd name="connsiteY1" fmla="*/ 1181127 h 1889787"/>
                <a:gd name="connsiteX2" fmla="*/ 12256886 w 12256886"/>
                <a:gd name="connsiteY2" fmla="*/ 0 h 1889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256886" h="1889787">
                  <a:moveTo>
                    <a:pt x="0" y="1889787"/>
                  </a:moveTo>
                  <a:cubicBezTo>
                    <a:pt x="832273" y="1582447"/>
                    <a:pt x="2617047" y="1333527"/>
                    <a:pt x="3395980" y="1181127"/>
                  </a:cubicBezTo>
                  <a:cubicBezTo>
                    <a:pt x="5875020" y="751020"/>
                    <a:pt x="9695931" y="376767"/>
                    <a:pt x="12256886" y="0"/>
                  </a:cubicBezTo>
                </a:path>
              </a:pathLst>
            </a:custGeom>
            <a:noFill/>
            <a:ln w="38100" cap="flat" cmpd="sng" algn="ctr">
              <a:gradFill>
                <a:gsLst>
                  <a:gs pos="0">
                    <a:schemeClr val="accent6"/>
                  </a:gs>
                  <a:gs pos="100000">
                    <a:schemeClr val="accent2">
                      <a:alpha val="64000"/>
                    </a:schemeClr>
                  </a:gs>
                </a:gsLst>
                <a:lin ang="16800000" scaled="0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355">
                <a:spcBef>
                  <a:spcPct val="50000"/>
                </a:spcBef>
              </a:pPr>
              <a:endParaRPr lang="de-DE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1" name="Gruppieren 30"/>
          <p:cNvGrpSpPr/>
          <p:nvPr userDrawn="1"/>
        </p:nvGrpSpPr>
        <p:grpSpPr bwMode="gray">
          <a:xfrm>
            <a:off x="10806427" y="6021293"/>
            <a:ext cx="954204" cy="418695"/>
            <a:chOff x="7205663" y="-2159000"/>
            <a:chExt cx="3617912" cy="1587500"/>
          </a:xfrm>
        </p:grpSpPr>
        <p:sp>
          <p:nvSpPr>
            <p:cNvPr id="32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7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9" name="Textplatzhalt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226227" y="6123566"/>
            <a:ext cx="8974231" cy="335492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Verfassername ▪ Datum durch Klicken bearbeiten</a:t>
            </a:r>
            <a:endParaRPr lang="en-US" dirty="0"/>
          </a:p>
        </p:txBody>
      </p:sp>
      <p:sp>
        <p:nvSpPr>
          <p:cNvPr id="40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1223141" y="4762745"/>
            <a:ext cx="8977315" cy="1200000"/>
          </a:xfrm>
        </p:spPr>
        <p:txBody>
          <a:bodyPr/>
          <a:lstStyle/>
          <a:p>
            <a:r>
              <a:rPr lang="en-US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76544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für Drucke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0853"/>
            <a:ext cx="12192000" cy="1509795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10512492" y="5967246"/>
            <a:ext cx="1248139" cy="630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1198033" y="3242174"/>
            <a:ext cx="10077451" cy="1050925"/>
          </a:xfrm>
        </p:spPr>
        <p:txBody>
          <a:bodyPr anchor="b"/>
          <a:lstStyle>
            <a:lvl1pPr>
              <a:defRPr sz="2250" b="1" baseline="0">
                <a:solidFill>
                  <a:srgbClr val="0A2864"/>
                </a:solidFill>
              </a:defRPr>
            </a:lvl1pPr>
          </a:lstStyle>
          <a:p>
            <a:r>
              <a:rPr lang="en-US"/>
              <a:t>Titelmasterformat durch Klicken bearbeiten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00152" y="4375868"/>
            <a:ext cx="10176933" cy="719138"/>
          </a:xfrm>
        </p:spPr>
        <p:txBody>
          <a:bodyPr/>
          <a:lstStyle>
            <a:lvl1pPr>
              <a:defRPr b="1">
                <a:solidFill>
                  <a:srgbClr val="84B400"/>
                </a:solidFill>
              </a:defRPr>
            </a:lvl1pPr>
            <a:lvl2pPr marL="1190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Verfassername ▪ Datum durch Klicken bearbeiten</a:t>
            </a:r>
            <a:endParaRPr lang="en-US" dirty="0"/>
          </a:p>
        </p:txBody>
      </p: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9163" y="5754443"/>
            <a:ext cx="1267431" cy="423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9961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10128448" y="5733256"/>
            <a:ext cx="1920213" cy="864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Bild durch Klicken auf Symbol hinzufügen</a:t>
            </a:r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0" y="548680"/>
            <a:ext cx="12192000" cy="630932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900000" rIns="900000" bIns="972000" anchor="b"/>
          <a:lstStyle>
            <a:lvl1pPr>
              <a:defRPr sz="225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elmasterformat durch Klicken bearbeiten</a:t>
            </a:r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200000" y="5850000"/>
            <a:ext cx="8352384" cy="349276"/>
          </a:xfrm>
        </p:spPr>
        <p:txBody>
          <a:bodyPr anchor="b"/>
          <a:lstStyle>
            <a:lvl1pPr>
              <a:defRPr b="1">
                <a:solidFill>
                  <a:srgbClr val="84B400"/>
                </a:solidFill>
              </a:defRPr>
            </a:lvl1pPr>
            <a:lvl2pPr marL="1190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Verfassername ▪ Datum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666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>
            <a:extLst>
              <a:ext uri="{FF2B5EF4-FFF2-40B4-BE49-F238E27FC236}">
                <a16:creationId xmlns:a16="http://schemas.microsoft.com/office/drawing/2014/main" id="{D09C986A-4F2F-4398-A74A-DD93901F49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67808" y="4509224"/>
            <a:ext cx="6048671" cy="1080016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>
                <a:solidFill>
                  <a:schemeClr val="bg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r>
              <a:rPr lang="de-DE"/>
              <a:t>Click to edit subtitle</a:t>
            </a:r>
          </a:p>
          <a:p>
            <a:pPr lvl="1"/>
            <a:r>
              <a:rPr lang="de-DE"/>
              <a:t>Author | Position | Date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2351584" y="1700213"/>
            <a:ext cx="8064896" cy="2521470"/>
          </a:xfrm>
        </p:spPr>
        <p:txBody>
          <a:bodyPr anchor="b"/>
          <a:lstStyle>
            <a:lvl1pPr algn="l">
              <a:defRPr sz="4800" b="0" i="0">
                <a:latin typeface="+mj-lt"/>
              </a:defRPr>
            </a:lvl1pPr>
          </a:lstStyle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47A2217-1D36-4031-BB0B-2D5532FBDE84}"/>
              </a:ext>
            </a:extLst>
          </p:cNvPr>
          <p:cNvSpPr/>
          <p:nvPr userDrawn="1"/>
        </p:nvSpPr>
        <p:spPr bwMode="gray">
          <a:xfrm>
            <a:off x="11568608" y="6092825"/>
            <a:ext cx="623392" cy="76517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0328A7C-B812-48E9-AF50-7823CAE81A4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0488488" y="5949280"/>
            <a:ext cx="1224000" cy="533037"/>
            <a:chOff x="10267265" y="5877328"/>
            <a:chExt cx="1157327" cy="504000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E809D6B-696B-42B1-A667-65DDB05818F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30053" y="5992722"/>
              <a:ext cx="144242" cy="110303"/>
            </a:xfrm>
            <a:custGeom>
              <a:avLst/>
              <a:gdLst>
                <a:gd name="T0" fmla="*/ 1655 w 1957"/>
                <a:gd name="T1" fmla="*/ 1304 h 1513"/>
                <a:gd name="T2" fmla="*/ 1687 w 1957"/>
                <a:gd name="T3" fmla="*/ 1167 h 1513"/>
                <a:gd name="T4" fmla="*/ 1718 w 1957"/>
                <a:gd name="T5" fmla="*/ 1035 h 1513"/>
                <a:gd name="T6" fmla="*/ 1747 w 1957"/>
                <a:gd name="T7" fmla="*/ 908 h 1513"/>
                <a:gd name="T8" fmla="*/ 1775 w 1957"/>
                <a:gd name="T9" fmla="*/ 788 h 1513"/>
                <a:gd name="T10" fmla="*/ 1802 w 1957"/>
                <a:gd name="T11" fmla="*/ 673 h 1513"/>
                <a:gd name="T12" fmla="*/ 1827 w 1957"/>
                <a:gd name="T13" fmla="*/ 566 h 1513"/>
                <a:gd name="T14" fmla="*/ 1849 w 1957"/>
                <a:gd name="T15" fmla="*/ 467 h 1513"/>
                <a:gd name="T16" fmla="*/ 1871 w 1957"/>
                <a:gd name="T17" fmla="*/ 376 h 1513"/>
                <a:gd name="T18" fmla="*/ 1890 w 1957"/>
                <a:gd name="T19" fmla="*/ 293 h 1513"/>
                <a:gd name="T20" fmla="*/ 1907 w 1957"/>
                <a:gd name="T21" fmla="*/ 220 h 1513"/>
                <a:gd name="T22" fmla="*/ 1922 w 1957"/>
                <a:gd name="T23" fmla="*/ 157 h 1513"/>
                <a:gd name="T24" fmla="*/ 1934 w 1957"/>
                <a:gd name="T25" fmla="*/ 104 h 1513"/>
                <a:gd name="T26" fmla="*/ 1944 w 1957"/>
                <a:gd name="T27" fmla="*/ 62 h 1513"/>
                <a:gd name="T28" fmla="*/ 1951 w 1957"/>
                <a:gd name="T29" fmla="*/ 31 h 1513"/>
                <a:gd name="T30" fmla="*/ 1955 w 1957"/>
                <a:gd name="T31" fmla="*/ 12 h 1513"/>
                <a:gd name="T32" fmla="*/ 1957 w 1957"/>
                <a:gd name="T33" fmla="*/ 5 h 1513"/>
                <a:gd name="T34" fmla="*/ 345 w 1957"/>
                <a:gd name="T35" fmla="*/ 0 h 1513"/>
                <a:gd name="T36" fmla="*/ 344 w 1957"/>
                <a:gd name="T37" fmla="*/ 7 h 1513"/>
                <a:gd name="T38" fmla="*/ 339 w 1957"/>
                <a:gd name="T39" fmla="*/ 30 h 1513"/>
                <a:gd name="T40" fmla="*/ 331 w 1957"/>
                <a:gd name="T41" fmla="*/ 67 h 1513"/>
                <a:gd name="T42" fmla="*/ 320 w 1957"/>
                <a:gd name="T43" fmla="*/ 117 h 1513"/>
                <a:gd name="T44" fmla="*/ 305 w 1957"/>
                <a:gd name="T45" fmla="*/ 180 h 1513"/>
                <a:gd name="T46" fmla="*/ 288 w 1957"/>
                <a:gd name="T47" fmla="*/ 255 h 1513"/>
                <a:gd name="T48" fmla="*/ 268 w 1957"/>
                <a:gd name="T49" fmla="*/ 341 h 1513"/>
                <a:gd name="T50" fmla="*/ 246 w 1957"/>
                <a:gd name="T51" fmla="*/ 438 h 1513"/>
                <a:gd name="T52" fmla="*/ 221 w 1957"/>
                <a:gd name="T53" fmla="*/ 544 h 1513"/>
                <a:gd name="T54" fmla="*/ 194 w 1957"/>
                <a:gd name="T55" fmla="*/ 661 h 1513"/>
                <a:gd name="T56" fmla="*/ 166 w 1957"/>
                <a:gd name="T57" fmla="*/ 785 h 1513"/>
                <a:gd name="T58" fmla="*/ 135 w 1957"/>
                <a:gd name="T59" fmla="*/ 918 h 1513"/>
                <a:gd name="T60" fmla="*/ 103 w 1957"/>
                <a:gd name="T61" fmla="*/ 1058 h 1513"/>
                <a:gd name="T62" fmla="*/ 70 w 1957"/>
                <a:gd name="T63" fmla="*/ 1204 h 1513"/>
                <a:gd name="T64" fmla="*/ 35 w 1957"/>
                <a:gd name="T65" fmla="*/ 1356 h 1513"/>
                <a:gd name="T66" fmla="*/ 0 w 1957"/>
                <a:gd name="T67" fmla="*/ 1513 h 1513"/>
                <a:gd name="T68" fmla="*/ 94 w 1957"/>
                <a:gd name="T69" fmla="*/ 1499 h 1513"/>
                <a:gd name="T70" fmla="*/ 189 w 1957"/>
                <a:gd name="T71" fmla="*/ 1484 h 1513"/>
                <a:gd name="T72" fmla="*/ 286 w 1957"/>
                <a:gd name="T73" fmla="*/ 1471 h 1513"/>
                <a:gd name="T74" fmla="*/ 385 w 1957"/>
                <a:gd name="T75" fmla="*/ 1457 h 1513"/>
                <a:gd name="T76" fmla="*/ 484 w 1957"/>
                <a:gd name="T77" fmla="*/ 1444 h 1513"/>
                <a:gd name="T78" fmla="*/ 586 w 1957"/>
                <a:gd name="T79" fmla="*/ 1430 h 1513"/>
                <a:gd name="T80" fmla="*/ 688 w 1957"/>
                <a:gd name="T81" fmla="*/ 1417 h 1513"/>
                <a:gd name="T82" fmla="*/ 791 w 1957"/>
                <a:gd name="T83" fmla="*/ 1404 h 1513"/>
                <a:gd name="T84" fmla="*/ 895 w 1957"/>
                <a:gd name="T85" fmla="*/ 1391 h 1513"/>
                <a:gd name="T86" fmla="*/ 1001 w 1957"/>
                <a:gd name="T87" fmla="*/ 1378 h 1513"/>
                <a:gd name="T88" fmla="*/ 1107 w 1957"/>
                <a:gd name="T89" fmla="*/ 1365 h 1513"/>
                <a:gd name="T90" fmla="*/ 1215 w 1957"/>
                <a:gd name="T91" fmla="*/ 1353 h 1513"/>
                <a:gd name="T92" fmla="*/ 1324 w 1957"/>
                <a:gd name="T93" fmla="*/ 1341 h 1513"/>
                <a:gd name="T94" fmla="*/ 1433 w 1957"/>
                <a:gd name="T95" fmla="*/ 1328 h 1513"/>
                <a:gd name="T96" fmla="*/ 1543 w 1957"/>
                <a:gd name="T97" fmla="*/ 1317 h 1513"/>
                <a:gd name="T98" fmla="*/ 1655 w 1957"/>
                <a:gd name="T99" fmla="*/ 1304 h 1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7" h="1513">
                  <a:moveTo>
                    <a:pt x="1655" y="1304"/>
                  </a:moveTo>
                  <a:lnTo>
                    <a:pt x="1687" y="1167"/>
                  </a:lnTo>
                  <a:lnTo>
                    <a:pt x="1718" y="1035"/>
                  </a:lnTo>
                  <a:lnTo>
                    <a:pt x="1747" y="908"/>
                  </a:lnTo>
                  <a:lnTo>
                    <a:pt x="1775" y="788"/>
                  </a:lnTo>
                  <a:lnTo>
                    <a:pt x="1802" y="673"/>
                  </a:lnTo>
                  <a:lnTo>
                    <a:pt x="1827" y="566"/>
                  </a:lnTo>
                  <a:lnTo>
                    <a:pt x="1849" y="467"/>
                  </a:lnTo>
                  <a:lnTo>
                    <a:pt x="1871" y="376"/>
                  </a:lnTo>
                  <a:lnTo>
                    <a:pt x="1890" y="293"/>
                  </a:lnTo>
                  <a:lnTo>
                    <a:pt x="1907" y="220"/>
                  </a:lnTo>
                  <a:lnTo>
                    <a:pt x="1922" y="157"/>
                  </a:lnTo>
                  <a:lnTo>
                    <a:pt x="1934" y="104"/>
                  </a:lnTo>
                  <a:lnTo>
                    <a:pt x="1944" y="62"/>
                  </a:lnTo>
                  <a:lnTo>
                    <a:pt x="1951" y="31"/>
                  </a:lnTo>
                  <a:lnTo>
                    <a:pt x="1955" y="12"/>
                  </a:lnTo>
                  <a:lnTo>
                    <a:pt x="1957" y="5"/>
                  </a:lnTo>
                  <a:lnTo>
                    <a:pt x="345" y="0"/>
                  </a:lnTo>
                  <a:lnTo>
                    <a:pt x="344" y="7"/>
                  </a:lnTo>
                  <a:lnTo>
                    <a:pt x="339" y="30"/>
                  </a:lnTo>
                  <a:lnTo>
                    <a:pt x="331" y="67"/>
                  </a:lnTo>
                  <a:lnTo>
                    <a:pt x="320" y="117"/>
                  </a:lnTo>
                  <a:lnTo>
                    <a:pt x="305" y="180"/>
                  </a:lnTo>
                  <a:lnTo>
                    <a:pt x="288" y="255"/>
                  </a:lnTo>
                  <a:lnTo>
                    <a:pt x="268" y="341"/>
                  </a:lnTo>
                  <a:lnTo>
                    <a:pt x="246" y="438"/>
                  </a:lnTo>
                  <a:lnTo>
                    <a:pt x="221" y="544"/>
                  </a:lnTo>
                  <a:lnTo>
                    <a:pt x="194" y="661"/>
                  </a:lnTo>
                  <a:lnTo>
                    <a:pt x="166" y="785"/>
                  </a:lnTo>
                  <a:lnTo>
                    <a:pt x="135" y="918"/>
                  </a:lnTo>
                  <a:lnTo>
                    <a:pt x="103" y="1058"/>
                  </a:lnTo>
                  <a:lnTo>
                    <a:pt x="70" y="1204"/>
                  </a:lnTo>
                  <a:lnTo>
                    <a:pt x="35" y="1356"/>
                  </a:lnTo>
                  <a:lnTo>
                    <a:pt x="0" y="1513"/>
                  </a:lnTo>
                  <a:lnTo>
                    <a:pt x="94" y="1499"/>
                  </a:lnTo>
                  <a:lnTo>
                    <a:pt x="189" y="1484"/>
                  </a:lnTo>
                  <a:lnTo>
                    <a:pt x="286" y="1471"/>
                  </a:lnTo>
                  <a:lnTo>
                    <a:pt x="385" y="1457"/>
                  </a:lnTo>
                  <a:lnTo>
                    <a:pt x="484" y="1444"/>
                  </a:lnTo>
                  <a:lnTo>
                    <a:pt x="586" y="1430"/>
                  </a:lnTo>
                  <a:lnTo>
                    <a:pt x="688" y="1417"/>
                  </a:lnTo>
                  <a:lnTo>
                    <a:pt x="791" y="1404"/>
                  </a:lnTo>
                  <a:lnTo>
                    <a:pt x="895" y="1391"/>
                  </a:lnTo>
                  <a:lnTo>
                    <a:pt x="1001" y="1378"/>
                  </a:lnTo>
                  <a:lnTo>
                    <a:pt x="1107" y="1365"/>
                  </a:lnTo>
                  <a:lnTo>
                    <a:pt x="1215" y="1353"/>
                  </a:lnTo>
                  <a:lnTo>
                    <a:pt x="1324" y="1341"/>
                  </a:lnTo>
                  <a:lnTo>
                    <a:pt x="1433" y="1328"/>
                  </a:lnTo>
                  <a:lnTo>
                    <a:pt x="1543" y="1317"/>
                  </a:lnTo>
                  <a:lnTo>
                    <a:pt x="1655" y="1304"/>
                  </a:ln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7A57EDDB-998E-4859-B447-91E66826F2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0518415" y="5989328"/>
              <a:ext cx="263029" cy="91636"/>
            </a:xfrm>
            <a:custGeom>
              <a:avLst/>
              <a:gdLst>
                <a:gd name="T0" fmla="*/ 1166 w 3567"/>
                <a:gd name="T1" fmla="*/ 1148 h 1249"/>
                <a:gd name="T2" fmla="*/ 1360 w 3567"/>
                <a:gd name="T3" fmla="*/ 1136 h 1249"/>
                <a:gd name="T4" fmla="*/ 1590 w 3567"/>
                <a:gd name="T5" fmla="*/ 1125 h 1249"/>
                <a:gd name="T6" fmla="*/ 1852 w 3567"/>
                <a:gd name="T7" fmla="*/ 1114 h 1249"/>
                <a:gd name="T8" fmla="*/ 2143 w 3567"/>
                <a:gd name="T9" fmla="*/ 1104 h 1249"/>
                <a:gd name="T10" fmla="*/ 2461 w 3567"/>
                <a:gd name="T11" fmla="*/ 1095 h 1249"/>
                <a:gd name="T12" fmla="*/ 2803 w 3567"/>
                <a:gd name="T13" fmla="*/ 1085 h 1249"/>
                <a:gd name="T14" fmla="*/ 3166 w 3567"/>
                <a:gd name="T15" fmla="*/ 1077 h 1249"/>
                <a:gd name="T16" fmla="*/ 3372 w 3567"/>
                <a:gd name="T17" fmla="*/ 991 h 1249"/>
                <a:gd name="T18" fmla="*/ 3408 w 3567"/>
                <a:gd name="T19" fmla="*/ 822 h 1249"/>
                <a:gd name="T20" fmla="*/ 3444 w 3567"/>
                <a:gd name="T21" fmla="*/ 652 h 1249"/>
                <a:gd name="T22" fmla="*/ 3480 w 3567"/>
                <a:gd name="T23" fmla="*/ 490 h 1249"/>
                <a:gd name="T24" fmla="*/ 3510 w 3567"/>
                <a:gd name="T25" fmla="*/ 343 h 1249"/>
                <a:gd name="T26" fmla="*/ 3536 w 3567"/>
                <a:gd name="T27" fmla="*/ 220 h 1249"/>
                <a:gd name="T28" fmla="*/ 3555 w 3567"/>
                <a:gd name="T29" fmla="*/ 130 h 1249"/>
                <a:gd name="T30" fmla="*/ 3565 w 3567"/>
                <a:gd name="T31" fmla="*/ 82 h 1249"/>
                <a:gd name="T32" fmla="*/ 3561 w 3567"/>
                <a:gd name="T33" fmla="*/ 74 h 1249"/>
                <a:gd name="T34" fmla="*/ 3522 w 3567"/>
                <a:gd name="T35" fmla="*/ 66 h 1249"/>
                <a:gd name="T36" fmla="*/ 3441 w 3567"/>
                <a:gd name="T37" fmla="*/ 54 h 1249"/>
                <a:gd name="T38" fmla="*/ 3319 w 3567"/>
                <a:gd name="T39" fmla="*/ 38 h 1249"/>
                <a:gd name="T40" fmla="*/ 3155 w 3567"/>
                <a:gd name="T41" fmla="*/ 23 h 1249"/>
                <a:gd name="T42" fmla="*/ 2947 w 3567"/>
                <a:gd name="T43" fmla="*/ 10 h 1249"/>
                <a:gd name="T44" fmla="*/ 2695 w 3567"/>
                <a:gd name="T45" fmla="*/ 2 h 1249"/>
                <a:gd name="T46" fmla="*/ 2476 w 3567"/>
                <a:gd name="T47" fmla="*/ 0 h 1249"/>
                <a:gd name="T48" fmla="*/ 2315 w 3567"/>
                <a:gd name="T49" fmla="*/ 1 h 1249"/>
                <a:gd name="T50" fmla="*/ 2127 w 3567"/>
                <a:gd name="T51" fmla="*/ 7 h 1249"/>
                <a:gd name="T52" fmla="*/ 1923 w 3567"/>
                <a:gd name="T53" fmla="*/ 24 h 1249"/>
                <a:gd name="T54" fmla="*/ 1726 w 3567"/>
                <a:gd name="T55" fmla="*/ 52 h 1249"/>
                <a:gd name="T56" fmla="*/ 1538 w 3567"/>
                <a:gd name="T57" fmla="*/ 90 h 1249"/>
                <a:gd name="T58" fmla="*/ 1358 w 3567"/>
                <a:gd name="T59" fmla="*/ 138 h 1249"/>
                <a:gd name="T60" fmla="*/ 1186 w 3567"/>
                <a:gd name="T61" fmla="*/ 196 h 1249"/>
                <a:gd name="T62" fmla="*/ 1024 w 3567"/>
                <a:gd name="T63" fmla="*/ 262 h 1249"/>
                <a:gd name="T64" fmla="*/ 869 w 3567"/>
                <a:gd name="T65" fmla="*/ 338 h 1249"/>
                <a:gd name="T66" fmla="*/ 727 w 3567"/>
                <a:gd name="T67" fmla="*/ 421 h 1249"/>
                <a:gd name="T68" fmla="*/ 593 w 3567"/>
                <a:gd name="T69" fmla="*/ 511 h 1249"/>
                <a:gd name="T70" fmla="*/ 470 w 3567"/>
                <a:gd name="T71" fmla="*/ 609 h 1249"/>
                <a:gd name="T72" fmla="*/ 358 w 3567"/>
                <a:gd name="T73" fmla="*/ 714 h 1249"/>
                <a:gd name="T74" fmla="*/ 257 w 3567"/>
                <a:gd name="T75" fmla="*/ 824 h 1249"/>
                <a:gd name="T76" fmla="*/ 168 w 3567"/>
                <a:gd name="T77" fmla="*/ 939 h 1249"/>
                <a:gd name="T78" fmla="*/ 91 w 3567"/>
                <a:gd name="T79" fmla="*/ 1060 h 1249"/>
                <a:gd name="T80" fmla="*/ 27 w 3567"/>
                <a:gd name="T81" fmla="*/ 1185 h 1249"/>
                <a:gd name="T82" fmla="*/ 67 w 3567"/>
                <a:gd name="T83" fmla="*/ 1242 h 1249"/>
                <a:gd name="T84" fmla="*/ 201 w 3567"/>
                <a:gd name="T85" fmla="*/ 1231 h 1249"/>
                <a:gd name="T86" fmla="*/ 335 w 3567"/>
                <a:gd name="T87" fmla="*/ 1219 h 1249"/>
                <a:gd name="T88" fmla="*/ 471 w 3567"/>
                <a:gd name="T89" fmla="*/ 1206 h 1249"/>
                <a:gd name="T90" fmla="*/ 605 w 3567"/>
                <a:gd name="T91" fmla="*/ 1195 h 1249"/>
                <a:gd name="T92" fmla="*/ 742 w 3567"/>
                <a:gd name="T93" fmla="*/ 1182 h 1249"/>
                <a:gd name="T94" fmla="*/ 879 w 3567"/>
                <a:gd name="T95" fmla="*/ 1171 h 1249"/>
                <a:gd name="T96" fmla="*/ 1015 w 3567"/>
                <a:gd name="T97" fmla="*/ 1160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67" h="1249">
                  <a:moveTo>
                    <a:pt x="1084" y="1155"/>
                  </a:moveTo>
                  <a:lnTo>
                    <a:pt x="1166" y="1148"/>
                  </a:lnTo>
                  <a:lnTo>
                    <a:pt x="1259" y="1142"/>
                  </a:lnTo>
                  <a:lnTo>
                    <a:pt x="1360" y="1136"/>
                  </a:lnTo>
                  <a:lnTo>
                    <a:pt x="1471" y="1130"/>
                  </a:lnTo>
                  <a:lnTo>
                    <a:pt x="1590" y="1125"/>
                  </a:lnTo>
                  <a:lnTo>
                    <a:pt x="1717" y="1119"/>
                  </a:lnTo>
                  <a:lnTo>
                    <a:pt x="1852" y="1114"/>
                  </a:lnTo>
                  <a:lnTo>
                    <a:pt x="1994" y="1109"/>
                  </a:lnTo>
                  <a:lnTo>
                    <a:pt x="2143" y="1104"/>
                  </a:lnTo>
                  <a:lnTo>
                    <a:pt x="2299" y="1099"/>
                  </a:lnTo>
                  <a:lnTo>
                    <a:pt x="2461" y="1095"/>
                  </a:lnTo>
                  <a:lnTo>
                    <a:pt x="2630" y="1091"/>
                  </a:lnTo>
                  <a:lnTo>
                    <a:pt x="2803" y="1085"/>
                  </a:lnTo>
                  <a:lnTo>
                    <a:pt x="2982" y="1081"/>
                  </a:lnTo>
                  <a:lnTo>
                    <a:pt x="3166" y="1077"/>
                  </a:lnTo>
                  <a:lnTo>
                    <a:pt x="3354" y="1074"/>
                  </a:lnTo>
                  <a:lnTo>
                    <a:pt x="3372" y="991"/>
                  </a:lnTo>
                  <a:lnTo>
                    <a:pt x="3390" y="908"/>
                  </a:lnTo>
                  <a:lnTo>
                    <a:pt x="3408" y="822"/>
                  </a:lnTo>
                  <a:lnTo>
                    <a:pt x="3427" y="736"/>
                  </a:lnTo>
                  <a:lnTo>
                    <a:pt x="3444" y="652"/>
                  </a:lnTo>
                  <a:lnTo>
                    <a:pt x="3462" y="569"/>
                  </a:lnTo>
                  <a:lnTo>
                    <a:pt x="3480" y="490"/>
                  </a:lnTo>
                  <a:lnTo>
                    <a:pt x="3495" y="413"/>
                  </a:lnTo>
                  <a:lnTo>
                    <a:pt x="3510" y="343"/>
                  </a:lnTo>
                  <a:lnTo>
                    <a:pt x="3524" y="278"/>
                  </a:lnTo>
                  <a:lnTo>
                    <a:pt x="3536" y="220"/>
                  </a:lnTo>
                  <a:lnTo>
                    <a:pt x="3546" y="170"/>
                  </a:lnTo>
                  <a:lnTo>
                    <a:pt x="3555" y="130"/>
                  </a:lnTo>
                  <a:lnTo>
                    <a:pt x="3561" y="100"/>
                  </a:lnTo>
                  <a:lnTo>
                    <a:pt x="3565" y="82"/>
                  </a:lnTo>
                  <a:lnTo>
                    <a:pt x="3567" y="75"/>
                  </a:lnTo>
                  <a:lnTo>
                    <a:pt x="3561" y="74"/>
                  </a:lnTo>
                  <a:lnTo>
                    <a:pt x="3547" y="71"/>
                  </a:lnTo>
                  <a:lnTo>
                    <a:pt x="3522" y="66"/>
                  </a:lnTo>
                  <a:lnTo>
                    <a:pt x="3487" y="61"/>
                  </a:lnTo>
                  <a:lnTo>
                    <a:pt x="3441" y="54"/>
                  </a:lnTo>
                  <a:lnTo>
                    <a:pt x="3385" y="46"/>
                  </a:lnTo>
                  <a:lnTo>
                    <a:pt x="3319" y="38"/>
                  </a:lnTo>
                  <a:lnTo>
                    <a:pt x="3243" y="31"/>
                  </a:lnTo>
                  <a:lnTo>
                    <a:pt x="3155" y="23"/>
                  </a:lnTo>
                  <a:lnTo>
                    <a:pt x="3056" y="17"/>
                  </a:lnTo>
                  <a:lnTo>
                    <a:pt x="2947" y="10"/>
                  </a:lnTo>
                  <a:lnTo>
                    <a:pt x="2827" y="5"/>
                  </a:lnTo>
                  <a:lnTo>
                    <a:pt x="2695" y="2"/>
                  </a:lnTo>
                  <a:lnTo>
                    <a:pt x="2551" y="0"/>
                  </a:lnTo>
                  <a:lnTo>
                    <a:pt x="2476" y="0"/>
                  </a:lnTo>
                  <a:lnTo>
                    <a:pt x="2397" y="0"/>
                  </a:lnTo>
                  <a:lnTo>
                    <a:pt x="2315" y="1"/>
                  </a:lnTo>
                  <a:lnTo>
                    <a:pt x="2231" y="3"/>
                  </a:lnTo>
                  <a:lnTo>
                    <a:pt x="2127" y="7"/>
                  </a:lnTo>
                  <a:lnTo>
                    <a:pt x="2024" y="14"/>
                  </a:lnTo>
                  <a:lnTo>
                    <a:pt x="1923" y="24"/>
                  </a:lnTo>
                  <a:lnTo>
                    <a:pt x="1824" y="36"/>
                  </a:lnTo>
                  <a:lnTo>
                    <a:pt x="1726" y="52"/>
                  </a:lnTo>
                  <a:lnTo>
                    <a:pt x="1631" y="69"/>
                  </a:lnTo>
                  <a:lnTo>
                    <a:pt x="1538" y="90"/>
                  </a:lnTo>
                  <a:lnTo>
                    <a:pt x="1447" y="113"/>
                  </a:lnTo>
                  <a:lnTo>
                    <a:pt x="1358" y="138"/>
                  </a:lnTo>
                  <a:lnTo>
                    <a:pt x="1271" y="165"/>
                  </a:lnTo>
                  <a:lnTo>
                    <a:pt x="1186" y="196"/>
                  </a:lnTo>
                  <a:lnTo>
                    <a:pt x="1103" y="228"/>
                  </a:lnTo>
                  <a:lnTo>
                    <a:pt x="1024" y="262"/>
                  </a:lnTo>
                  <a:lnTo>
                    <a:pt x="945" y="299"/>
                  </a:lnTo>
                  <a:lnTo>
                    <a:pt x="869" y="338"/>
                  </a:lnTo>
                  <a:lnTo>
                    <a:pt x="797" y="378"/>
                  </a:lnTo>
                  <a:lnTo>
                    <a:pt x="727" y="421"/>
                  </a:lnTo>
                  <a:lnTo>
                    <a:pt x="658" y="466"/>
                  </a:lnTo>
                  <a:lnTo>
                    <a:pt x="593" y="511"/>
                  </a:lnTo>
                  <a:lnTo>
                    <a:pt x="530" y="560"/>
                  </a:lnTo>
                  <a:lnTo>
                    <a:pt x="470" y="609"/>
                  </a:lnTo>
                  <a:lnTo>
                    <a:pt x="412" y="661"/>
                  </a:lnTo>
                  <a:lnTo>
                    <a:pt x="358" y="714"/>
                  </a:lnTo>
                  <a:lnTo>
                    <a:pt x="306" y="767"/>
                  </a:lnTo>
                  <a:lnTo>
                    <a:pt x="257" y="824"/>
                  </a:lnTo>
                  <a:lnTo>
                    <a:pt x="211" y="881"/>
                  </a:lnTo>
                  <a:lnTo>
                    <a:pt x="168" y="939"/>
                  </a:lnTo>
                  <a:lnTo>
                    <a:pt x="128" y="999"/>
                  </a:lnTo>
                  <a:lnTo>
                    <a:pt x="91" y="1060"/>
                  </a:lnTo>
                  <a:lnTo>
                    <a:pt x="58" y="1122"/>
                  </a:lnTo>
                  <a:lnTo>
                    <a:pt x="27" y="1185"/>
                  </a:lnTo>
                  <a:lnTo>
                    <a:pt x="0" y="1249"/>
                  </a:lnTo>
                  <a:lnTo>
                    <a:pt x="67" y="1242"/>
                  </a:lnTo>
                  <a:lnTo>
                    <a:pt x="134" y="1236"/>
                  </a:lnTo>
                  <a:lnTo>
                    <a:pt x="201" y="1231"/>
                  </a:lnTo>
                  <a:lnTo>
                    <a:pt x="268" y="1225"/>
                  </a:lnTo>
                  <a:lnTo>
                    <a:pt x="335" y="1219"/>
                  </a:lnTo>
                  <a:lnTo>
                    <a:pt x="403" y="1212"/>
                  </a:lnTo>
                  <a:lnTo>
                    <a:pt x="471" y="1206"/>
                  </a:lnTo>
                  <a:lnTo>
                    <a:pt x="538" y="1201"/>
                  </a:lnTo>
                  <a:lnTo>
                    <a:pt x="605" y="1195"/>
                  </a:lnTo>
                  <a:lnTo>
                    <a:pt x="674" y="1189"/>
                  </a:lnTo>
                  <a:lnTo>
                    <a:pt x="742" y="1182"/>
                  </a:lnTo>
                  <a:lnTo>
                    <a:pt x="810" y="1177"/>
                  </a:lnTo>
                  <a:lnTo>
                    <a:pt x="879" y="1171"/>
                  </a:lnTo>
                  <a:lnTo>
                    <a:pt x="946" y="1166"/>
                  </a:lnTo>
                  <a:lnTo>
                    <a:pt x="1015" y="1160"/>
                  </a:lnTo>
                  <a:lnTo>
                    <a:pt x="1084" y="1155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C2CF9552-47FC-4FC1-B727-E5A8C822D0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9322" y="5877328"/>
              <a:ext cx="212120" cy="190061"/>
            </a:xfrm>
            <a:custGeom>
              <a:avLst/>
              <a:gdLst>
                <a:gd name="T0" fmla="*/ 2646 w 2867"/>
                <a:gd name="T1" fmla="*/ 2542 h 2571"/>
                <a:gd name="T2" fmla="*/ 2867 w 2867"/>
                <a:gd name="T3" fmla="*/ 1557 h 2571"/>
                <a:gd name="T4" fmla="*/ 1877 w 2867"/>
                <a:gd name="T5" fmla="*/ 1557 h 2571"/>
                <a:gd name="T6" fmla="*/ 1920 w 2867"/>
                <a:gd name="T7" fmla="*/ 1361 h 2571"/>
                <a:gd name="T8" fmla="*/ 1960 w 2867"/>
                <a:gd name="T9" fmla="*/ 1182 h 2571"/>
                <a:gd name="T10" fmla="*/ 1996 w 2867"/>
                <a:gd name="T11" fmla="*/ 1019 h 2571"/>
                <a:gd name="T12" fmla="*/ 2029 w 2867"/>
                <a:gd name="T13" fmla="*/ 872 h 2571"/>
                <a:gd name="T14" fmla="*/ 2060 w 2867"/>
                <a:gd name="T15" fmla="*/ 739 h 2571"/>
                <a:gd name="T16" fmla="*/ 2087 w 2867"/>
                <a:gd name="T17" fmla="*/ 621 h 2571"/>
                <a:gd name="T18" fmla="*/ 2111 w 2867"/>
                <a:gd name="T19" fmla="*/ 514 h 2571"/>
                <a:gd name="T20" fmla="*/ 2133 w 2867"/>
                <a:gd name="T21" fmla="*/ 420 h 2571"/>
                <a:gd name="T22" fmla="*/ 2152 w 2867"/>
                <a:gd name="T23" fmla="*/ 338 h 2571"/>
                <a:gd name="T24" fmla="*/ 2169 w 2867"/>
                <a:gd name="T25" fmla="*/ 264 h 2571"/>
                <a:gd name="T26" fmla="*/ 2183 w 2867"/>
                <a:gd name="T27" fmla="*/ 201 h 2571"/>
                <a:gd name="T28" fmla="*/ 2196 w 2867"/>
                <a:gd name="T29" fmla="*/ 148 h 2571"/>
                <a:gd name="T30" fmla="*/ 2206 w 2867"/>
                <a:gd name="T31" fmla="*/ 101 h 2571"/>
                <a:gd name="T32" fmla="*/ 2215 w 2867"/>
                <a:gd name="T33" fmla="*/ 62 h 2571"/>
                <a:gd name="T34" fmla="*/ 2222 w 2867"/>
                <a:gd name="T35" fmla="*/ 28 h 2571"/>
                <a:gd name="T36" fmla="*/ 2228 w 2867"/>
                <a:gd name="T37" fmla="*/ 0 h 2571"/>
                <a:gd name="T38" fmla="*/ 512 w 2867"/>
                <a:gd name="T39" fmla="*/ 331 h 2571"/>
                <a:gd name="T40" fmla="*/ 509 w 2867"/>
                <a:gd name="T41" fmla="*/ 343 h 2571"/>
                <a:gd name="T42" fmla="*/ 501 w 2867"/>
                <a:gd name="T43" fmla="*/ 375 h 2571"/>
                <a:gd name="T44" fmla="*/ 490 w 2867"/>
                <a:gd name="T45" fmla="*/ 428 h 2571"/>
                <a:gd name="T46" fmla="*/ 473 w 2867"/>
                <a:gd name="T47" fmla="*/ 501 h 2571"/>
                <a:gd name="T48" fmla="*/ 453 w 2867"/>
                <a:gd name="T49" fmla="*/ 592 h 2571"/>
                <a:gd name="T50" fmla="*/ 428 w 2867"/>
                <a:gd name="T51" fmla="*/ 700 h 2571"/>
                <a:gd name="T52" fmla="*/ 399 w 2867"/>
                <a:gd name="T53" fmla="*/ 826 h 2571"/>
                <a:gd name="T54" fmla="*/ 367 w 2867"/>
                <a:gd name="T55" fmla="*/ 968 h 2571"/>
                <a:gd name="T56" fmla="*/ 331 w 2867"/>
                <a:gd name="T57" fmla="*/ 1125 h 2571"/>
                <a:gd name="T58" fmla="*/ 291 w 2867"/>
                <a:gd name="T59" fmla="*/ 1296 h 2571"/>
                <a:gd name="T60" fmla="*/ 250 w 2867"/>
                <a:gd name="T61" fmla="*/ 1481 h 2571"/>
                <a:gd name="T62" fmla="*/ 204 w 2867"/>
                <a:gd name="T63" fmla="*/ 1677 h 2571"/>
                <a:gd name="T64" fmla="*/ 157 w 2867"/>
                <a:gd name="T65" fmla="*/ 1886 h 2571"/>
                <a:gd name="T66" fmla="*/ 107 w 2867"/>
                <a:gd name="T67" fmla="*/ 2105 h 2571"/>
                <a:gd name="T68" fmla="*/ 54 w 2867"/>
                <a:gd name="T69" fmla="*/ 2334 h 2571"/>
                <a:gd name="T70" fmla="*/ 0 w 2867"/>
                <a:gd name="T71" fmla="*/ 2571 h 2571"/>
                <a:gd name="T72" fmla="*/ 164 w 2867"/>
                <a:gd name="T73" fmla="*/ 2569 h 2571"/>
                <a:gd name="T74" fmla="*/ 328 w 2867"/>
                <a:gd name="T75" fmla="*/ 2566 h 2571"/>
                <a:gd name="T76" fmla="*/ 493 w 2867"/>
                <a:gd name="T77" fmla="*/ 2564 h 2571"/>
                <a:gd name="T78" fmla="*/ 660 w 2867"/>
                <a:gd name="T79" fmla="*/ 2562 h 2571"/>
                <a:gd name="T80" fmla="*/ 826 w 2867"/>
                <a:gd name="T81" fmla="*/ 2560 h 2571"/>
                <a:gd name="T82" fmla="*/ 993 w 2867"/>
                <a:gd name="T83" fmla="*/ 2558 h 2571"/>
                <a:gd name="T84" fmla="*/ 1161 w 2867"/>
                <a:gd name="T85" fmla="*/ 2556 h 2571"/>
                <a:gd name="T86" fmla="*/ 1327 w 2867"/>
                <a:gd name="T87" fmla="*/ 2555 h 2571"/>
                <a:gd name="T88" fmla="*/ 1495 w 2867"/>
                <a:gd name="T89" fmla="*/ 2553 h 2571"/>
                <a:gd name="T90" fmla="*/ 1662 w 2867"/>
                <a:gd name="T91" fmla="*/ 2551 h 2571"/>
                <a:gd name="T92" fmla="*/ 1828 w 2867"/>
                <a:gd name="T93" fmla="*/ 2550 h 2571"/>
                <a:gd name="T94" fmla="*/ 1994 w 2867"/>
                <a:gd name="T95" fmla="*/ 2548 h 2571"/>
                <a:gd name="T96" fmla="*/ 2158 w 2867"/>
                <a:gd name="T97" fmla="*/ 2547 h 2571"/>
                <a:gd name="T98" fmla="*/ 2322 w 2867"/>
                <a:gd name="T99" fmla="*/ 2545 h 2571"/>
                <a:gd name="T100" fmla="*/ 2484 w 2867"/>
                <a:gd name="T101" fmla="*/ 2544 h 2571"/>
                <a:gd name="T102" fmla="*/ 2646 w 2867"/>
                <a:gd name="T103" fmla="*/ 2542 h 2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867" h="2571">
                  <a:moveTo>
                    <a:pt x="2646" y="2542"/>
                  </a:moveTo>
                  <a:lnTo>
                    <a:pt x="2867" y="1557"/>
                  </a:lnTo>
                  <a:lnTo>
                    <a:pt x="1877" y="1557"/>
                  </a:lnTo>
                  <a:lnTo>
                    <a:pt x="1920" y="1361"/>
                  </a:lnTo>
                  <a:lnTo>
                    <a:pt x="1960" y="1182"/>
                  </a:lnTo>
                  <a:lnTo>
                    <a:pt x="1996" y="1019"/>
                  </a:lnTo>
                  <a:lnTo>
                    <a:pt x="2029" y="872"/>
                  </a:lnTo>
                  <a:lnTo>
                    <a:pt x="2060" y="739"/>
                  </a:lnTo>
                  <a:lnTo>
                    <a:pt x="2087" y="621"/>
                  </a:lnTo>
                  <a:lnTo>
                    <a:pt x="2111" y="514"/>
                  </a:lnTo>
                  <a:lnTo>
                    <a:pt x="2133" y="420"/>
                  </a:lnTo>
                  <a:lnTo>
                    <a:pt x="2152" y="338"/>
                  </a:lnTo>
                  <a:lnTo>
                    <a:pt x="2169" y="264"/>
                  </a:lnTo>
                  <a:lnTo>
                    <a:pt x="2183" y="201"/>
                  </a:lnTo>
                  <a:lnTo>
                    <a:pt x="2196" y="148"/>
                  </a:lnTo>
                  <a:lnTo>
                    <a:pt x="2206" y="101"/>
                  </a:lnTo>
                  <a:lnTo>
                    <a:pt x="2215" y="62"/>
                  </a:lnTo>
                  <a:lnTo>
                    <a:pt x="2222" y="28"/>
                  </a:lnTo>
                  <a:lnTo>
                    <a:pt x="2228" y="0"/>
                  </a:lnTo>
                  <a:lnTo>
                    <a:pt x="512" y="331"/>
                  </a:lnTo>
                  <a:lnTo>
                    <a:pt x="509" y="343"/>
                  </a:lnTo>
                  <a:lnTo>
                    <a:pt x="501" y="375"/>
                  </a:lnTo>
                  <a:lnTo>
                    <a:pt x="490" y="428"/>
                  </a:lnTo>
                  <a:lnTo>
                    <a:pt x="473" y="501"/>
                  </a:lnTo>
                  <a:lnTo>
                    <a:pt x="453" y="592"/>
                  </a:lnTo>
                  <a:lnTo>
                    <a:pt x="428" y="700"/>
                  </a:lnTo>
                  <a:lnTo>
                    <a:pt x="399" y="826"/>
                  </a:lnTo>
                  <a:lnTo>
                    <a:pt x="367" y="968"/>
                  </a:lnTo>
                  <a:lnTo>
                    <a:pt x="331" y="1125"/>
                  </a:lnTo>
                  <a:lnTo>
                    <a:pt x="291" y="1296"/>
                  </a:lnTo>
                  <a:lnTo>
                    <a:pt x="250" y="1481"/>
                  </a:lnTo>
                  <a:lnTo>
                    <a:pt x="204" y="1677"/>
                  </a:lnTo>
                  <a:lnTo>
                    <a:pt x="157" y="1886"/>
                  </a:lnTo>
                  <a:lnTo>
                    <a:pt x="107" y="2105"/>
                  </a:lnTo>
                  <a:lnTo>
                    <a:pt x="54" y="2334"/>
                  </a:lnTo>
                  <a:lnTo>
                    <a:pt x="0" y="2571"/>
                  </a:lnTo>
                  <a:lnTo>
                    <a:pt x="164" y="2569"/>
                  </a:lnTo>
                  <a:lnTo>
                    <a:pt x="328" y="2566"/>
                  </a:lnTo>
                  <a:lnTo>
                    <a:pt x="493" y="2564"/>
                  </a:lnTo>
                  <a:lnTo>
                    <a:pt x="660" y="2562"/>
                  </a:lnTo>
                  <a:lnTo>
                    <a:pt x="826" y="2560"/>
                  </a:lnTo>
                  <a:lnTo>
                    <a:pt x="993" y="2558"/>
                  </a:lnTo>
                  <a:lnTo>
                    <a:pt x="1161" y="2556"/>
                  </a:lnTo>
                  <a:lnTo>
                    <a:pt x="1327" y="2555"/>
                  </a:lnTo>
                  <a:lnTo>
                    <a:pt x="1495" y="2553"/>
                  </a:lnTo>
                  <a:lnTo>
                    <a:pt x="1662" y="2551"/>
                  </a:lnTo>
                  <a:lnTo>
                    <a:pt x="1828" y="2550"/>
                  </a:lnTo>
                  <a:lnTo>
                    <a:pt x="1994" y="2548"/>
                  </a:lnTo>
                  <a:lnTo>
                    <a:pt x="2158" y="2547"/>
                  </a:lnTo>
                  <a:lnTo>
                    <a:pt x="2322" y="2545"/>
                  </a:lnTo>
                  <a:lnTo>
                    <a:pt x="2484" y="2544"/>
                  </a:lnTo>
                  <a:lnTo>
                    <a:pt x="2646" y="2542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97EA7B9D-762A-48D1-8356-0F87FA3AB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10267265" y="6159025"/>
              <a:ext cx="167999" cy="217212"/>
            </a:xfrm>
            <a:custGeom>
              <a:avLst/>
              <a:gdLst>
                <a:gd name="T0" fmla="*/ 555 w 2278"/>
                <a:gd name="T1" fmla="*/ 526 h 2940"/>
                <a:gd name="T2" fmla="*/ 504 w 2278"/>
                <a:gd name="T3" fmla="*/ 746 h 2940"/>
                <a:gd name="T4" fmla="*/ 454 w 2278"/>
                <a:gd name="T5" fmla="*/ 964 h 2940"/>
                <a:gd name="T6" fmla="*/ 405 w 2278"/>
                <a:gd name="T7" fmla="*/ 1179 h 2940"/>
                <a:gd name="T8" fmla="*/ 356 w 2278"/>
                <a:gd name="T9" fmla="*/ 1391 h 2940"/>
                <a:gd name="T10" fmla="*/ 310 w 2278"/>
                <a:gd name="T11" fmla="*/ 1595 h 2940"/>
                <a:gd name="T12" fmla="*/ 264 w 2278"/>
                <a:gd name="T13" fmla="*/ 1792 h 2940"/>
                <a:gd name="T14" fmla="*/ 222 w 2278"/>
                <a:gd name="T15" fmla="*/ 1978 h 2940"/>
                <a:gd name="T16" fmla="*/ 181 w 2278"/>
                <a:gd name="T17" fmla="*/ 2153 h 2940"/>
                <a:gd name="T18" fmla="*/ 144 w 2278"/>
                <a:gd name="T19" fmla="*/ 2315 h 2940"/>
                <a:gd name="T20" fmla="*/ 110 w 2278"/>
                <a:gd name="T21" fmla="*/ 2462 h 2940"/>
                <a:gd name="T22" fmla="*/ 80 w 2278"/>
                <a:gd name="T23" fmla="*/ 2593 h 2940"/>
                <a:gd name="T24" fmla="*/ 54 w 2278"/>
                <a:gd name="T25" fmla="*/ 2705 h 2940"/>
                <a:gd name="T26" fmla="*/ 32 w 2278"/>
                <a:gd name="T27" fmla="*/ 2798 h 2940"/>
                <a:gd name="T28" fmla="*/ 17 w 2278"/>
                <a:gd name="T29" fmla="*/ 2869 h 2940"/>
                <a:gd name="T30" fmla="*/ 5 w 2278"/>
                <a:gd name="T31" fmla="*/ 2917 h 2940"/>
                <a:gd name="T32" fmla="*/ 0 w 2278"/>
                <a:gd name="T33" fmla="*/ 2940 h 2940"/>
                <a:gd name="T34" fmla="*/ 1589 w 2278"/>
                <a:gd name="T35" fmla="*/ 2940 h 2940"/>
                <a:gd name="T36" fmla="*/ 1594 w 2278"/>
                <a:gd name="T37" fmla="*/ 2918 h 2940"/>
                <a:gd name="T38" fmla="*/ 1606 w 2278"/>
                <a:gd name="T39" fmla="*/ 2864 h 2940"/>
                <a:gd name="T40" fmla="*/ 1627 w 2278"/>
                <a:gd name="T41" fmla="*/ 2778 h 2940"/>
                <a:gd name="T42" fmla="*/ 1654 w 2278"/>
                <a:gd name="T43" fmla="*/ 2663 h 2940"/>
                <a:gd name="T44" fmla="*/ 1687 w 2278"/>
                <a:gd name="T45" fmla="*/ 2524 h 2940"/>
                <a:gd name="T46" fmla="*/ 1725 w 2278"/>
                <a:gd name="T47" fmla="*/ 2361 h 2940"/>
                <a:gd name="T48" fmla="*/ 1769 w 2278"/>
                <a:gd name="T49" fmla="*/ 2176 h 2940"/>
                <a:gd name="T50" fmla="*/ 1817 w 2278"/>
                <a:gd name="T51" fmla="*/ 1974 h 2940"/>
                <a:gd name="T52" fmla="*/ 1867 w 2278"/>
                <a:gd name="T53" fmla="*/ 1756 h 2940"/>
                <a:gd name="T54" fmla="*/ 1922 w 2278"/>
                <a:gd name="T55" fmla="*/ 1524 h 2940"/>
                <a:gd name="T56" fmla="*/ 1979 w 2278"/>
                <a:gd name="T57" fmla="*/ 1283 h 2940"/>
                <a:gd name="T58" fmla="*/ 2037 w 2278"/>
                <a:gd name="T59" fmla="*/ 1033 h 2940"/>
                <a:gd name="T60" fmla="*/ 2097 w 2278"/>
                <a:gd name="T61" fmla="*/ 777 h 2940"/>
                <a:gd name="T62" fmla="*/ 2157 w 2278"/>
                <a:gd name="T63" fmla="*/ 517 h 2940"/>
                <a:gd name="T64" fmla="*/ 2218 w 2278"/>
                <a:gd name="T65" fmla="*/ 257 h 2940"/>
                <a:gd name="T66" fmla="*/ 2278 w 2278"/>
                <a:gd name="T67" fmla="*/ 0 h 2940"/>
                <a:gd name="T68" fmla="*/ 2146 w 2278"/>
                <a:gd name="T69" fmla="*/ 33 h 2940"/>
                <a:gd name="T70" fmla="*/ 2016 w 2278"/>
                <a:gd name="T71" fmla="*/ 67 h 2940"/>
                <a:gd name="T72" fmla="*/ 1891 w 2278"/>
                <a:gd name="T73" fmla="*/ 100 h 2940"/>
                <a:gd name="T74" fmla="*/ 1769 w 2278"/>
                <a:gd name="T75" fmla="*/ 134 h 2940"/>
                <a:gd name="T76" fmla="*/ 1650 w 2278"/>
                <a:gd name="T77" fmla="*/ 167 h 2940"/>
                <a:gd name="T78" fmla="*/ 1534 w 2278"/>
                <a:gd name="T79" fmla="*/ 201 h 2940"/>
                <a:gd name="T80" fmla="*/ 1422 w 2278"/>
                <a:gd name="T81" fmla="*/ 234 h 2940"/>
                <a:gd name="T82" fmla="*/ 1313 w 2278"/>
                <a:gd name="T83" fmla="*/ 267 h 2940"/>
                <a:gd name="T84" fmla="*/ 1207 w 2278"/>
                <a:gd name="T85" fmla="*/ 300 h 2940"/>
                <a:gd name="T86" fmla="*/ 1104 w 2278"/>
                <a:gd name="T87" fmla="*/ 333 h 2940"/>
                <a:gd name="T88" fmla="*/ 1005 w 2278"/>
                <a:gd name="T89" fmla="*/ 367 h 2940"/>
                <a:gd name="T90" fmla="*/ 909 w 2278"/>
                <a:gd name="T91" fmla="*/ 399 h 2940"/>
                <a:gd name="T92" fmla="*/ 816 w 2278"/>
                <a:gd name="T93" fmla="*/ 431 h 2940"/>
                <a:gd name="T94" fmla="*/ 726 w 2278"/>
                <a:gd name="T95" fmla="*/ 463 h 2940"/>
                <a:gd name="T96" fmla="*/ 639 w 2278"/>
                <a:gd name="T97" fmla="*/ 495 h 2940"/>
                <a:gd name="T98" fmla="*/ 555 w 2278"/>
                <a:gd name="T99" fmla="*/ 526 h 2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78" h="2940">
                  <a:moveTo>
                    <a:pt x="555" y="526"/>
                  </a:moveTo>
                  <a:lnTo>
                    <a:pt x="504" y="746"/>
                  </a:lnTo>
                  <a:lnTo>
                    <a:pt x="454" y="964"/>
                  </a:lnTo>
                  <a:lnTo>
                    <a:pt x="405" y="1179"/>
                  </a:lnTo>
                  <a:lnTo>
                    <a:pt x="356" y="1391"/>
                  </a:lnTo>
                  <a:lnTo>
                    <a:pt x="310" y="1595"/>
                  </a:lnTo>
                  <a:lnTo>
                    <a:pt x="264" y="1792"/>
                  </a:lnTo>
                  <a:lnTo>
                    <a:pt x="222" y="1978"/>
                  </a:lnTo>
                  <a:lnTo>
                    <a:pt x="181" y="2153"/>
                  </a:lnTo>
                  <a:lnTo>
                    <a:pt x="144" y="2315"/>
                  </a:lnTo>
                  <a:lnTo>
                    <a:pt x="110" y="2462"/>
                  </a:lnTo>
                  <a:lnTo>
                    <a:pt x="80" y="2593"/>
                  </a:lnTo>
                  <a:lnTo>
                    <a:pt x="54" y="2705"/>
                  </a:lnTo>
                  <a:lnTo>
                    <a:pt x="32" y="2798"/>
                  </a:lnTo>
                  <a:lnTo>
                    <a:pt x="17" y="2869"/>
                  </a:lnTo>
                  <a:lnTo>
                    <a:pt x="5" y="2917"/>
                  </a:lnTo>
                  <a:lnTo>
                    <a:pt x="0" y="2940"/>
                  </a:lnTo>
                  <a:lnTo>
                    <a:pt x="1589" y="2940"/>
                  </a:lnTo>
                  <a:lnTo>
                    <a:pt x="1594" y="2918"/>
                  </a:lnTo>
                  <a:lnTo>
                    <a:pt x="1606" y="2864"/>
                  </a:lnTo>
                  <a:lnTo>
                    <a:pt x="1627" y="2778"/>
                  </a:lnTo>
                  <a:lnTo>
                    <a:pt x="1654" y="2663"/>
                  </a:lnTo>
                  <a:lnTo>
                    <a:pt x="1687" y="2524"/>
                  </a:lnTo>
                  <a:lnTo>
                    <a:pt x="1725" y="2361"/>
                  </a:lnTo>
                  <a:lnTo>
                    <a:pt x="1769" y="2176"/>
                  </a:lnTo>
                  <a:lnTo>
                    <a:pt x="1817" y="1974"/>
                  </a:lnTo>
                  <a:lnTo>
                    <a:pt x="1867" y="1756"/>
                  </a:lnTo>
                  <a:lnTo>
                    <a:pt x="1922" y="1524"/>
                  </a:lnTo>
                  <a:lnTo>
                    <a:pt x="1979" y="1283"/>
                  </a:lnTo>
                  <a:lnTo>
                    <a:pt x="2037" y="1033"/>
                  </a:lnTo>
                  <a:lnTo>
                    <a:pt x="2097" y="777"/>
                  </a:lnTo>
                  <a:lnTo>
                    <a:pt x="2157" y="517"/>
                  </a:lnTo>
                  <a:lnTo>
                    <a:pt x="2218" y="257"/>
                  </a:lnTo>
                  <a:lnTo>
                    <a:pt x="2278" y="0"/>
                  </a:lnTo>
                  <a:lnTo>
                    <a:pt x="2146" y="33"/>
                  </a:lnTo>
                  <a:lnTo>
                    <a:pt x="2016" y="67"/>
                  </a:lnTo>
                  <a:lnTo>
                    <a:pt x="1891" y="100"/>
                  </a:lnTo>
                  <a:lnTo>
                    <a:pt x="1769" y="134"/>
                  </a:lnTo>
                  <a:lnTo>
                    <a:pt x="1650" y="167"/>
                  </a:lnTo>
                  <a:lnTo>
                    <a:pt x="1534" y="201"/>
                  </a:lnTo>
                  <a:lnTo>
                    <a:pt x="1422" y="234"/>
                  </a:lnTo>
                  <a:lnTo>
                    <a:pt x="1313" y="267"/>
                  </a:lnTo>
                  <a:lnTo>
                    <a:pt x="1207" y="300"/>
                  </a:lnTo>
                  <a:lnTo>
                    <a:pt x="1104" y="333"/>
                  </a:lnTo>
                  <a:lnTo>
                    <a:pt x="1005" y="367"/>
                  </a:lnTo>
                  <a:lnTo>
                    <a:pt x="909" y="399"/>
                  </a:lnTo>
                  <a:lnTo>
                    <a:pt x="816" y="431"/>
                  </a:lnTo>
                  <a:lnTo>
                    <a:pt x="726" y="463"/>
                  </a:lnTo>
                  <a:lnTo>
                    <a:pt x="639" y="495"/>
                  </a:lnTo>
                  <a:lnTo>
                    <a:pt x="555" y="52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BF819BEE-2DC8-42F3-A220-9DCCECD29F1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049564" y="5991025"/>
              <a:ext cx="375028" cy="390303"/>
            </a:xfrm>
            <a:custGeom>
              <a:avLst/>
              <a:gdLst>
                <a:gd name="T0" fmla="*/ 4466 w 5066"/>
                <a:gd name="T1" fmla="*/ 34 h 5294"/>
                <a:gd name="T2" fmla="*/ 3678 w 5066"/>
                <a:gd name="T3" fmla="*/ 3 h 5294"/>
                <a:gd name="T4" fmla="*/ 2963 w 5066"/>
                <a:gd name="T5" fmla="*/ 8 h 5294"/>
                <a:gd name="T6" fmla="*/ 2456 w 5066"/>
                <a:gd name="T7" fmla="*/ 64 h 5294"/>
                <a:gd name="T8" fmla="*/ 1996 w 5066"/>
                <a:gd name="T9" fmla="*/ 183 h 5294"/>
                <a:gd name="T10" fmla="*/ 1582 w 5066"/>
                <a:gd name="T11" fmla="*/ 368 h 5294"/>
                <a:gd name="T12" fmla="*/ 1216 w 5066"/>
                <a:gd name="T13" fmla="*/ 622 h 5294"/>
                <a:gd name="T14" fmla="*/ 895 w 5066"/>
                <a:gd name="T15" fmla="*/ 947 h 5294"/>
                <a:gd name="T16" fmla="*/ 2051 w 5066"/>
                <a:gd name="T17" fmla="*/ 1001 h 5294"/>
                <a:gd name="T18" fmla="*/ 3037 w 5066"/>
                <a:gd name="T19" fmla="*/ 998 h 5294"/>
                <a:gd name="T20" fmla="*/ 3293 w 5066"/>
                <a:gd name="T21" fmla="*/ 1144 h 5294"/>
                <a:gd name="T22" fmla="*/ 3058 w 5066"/>
                <a:gd name="T23" fmla="*/ 2155 h 5294"/>
                <a:gd name="T24" fmla="*/ 2848 w 5066"/>
                <a:gd name="T25" fmla="*/ 3110 h 5294"/>
                <a:gd name="T26" fmla="*/ 2785 w 5066"/>
                <a:gd name="T27" fmla="*/ 3421 h 5294"/>
                <a:gd name="T28" fmla="*/ 2624 w 5066"/>
                <a:gd name="T29" fmla="*/ 3638 h 5294"/>
                <a:gd name="T30" fmla="*/ 2496 w 5066"/>
                <a:gd name="T31" fmla="*/ 3760 h 5294"/>
                <a:gd name="T32" fmla="*/ 2340 w 5066"/>
                <a:gd name="T33" fmla="*/ 3861 h 5294"/>
                <a:gd name="T34" fmla="*/ 2151 w 5066"/>
                <a:gd name="T35" fmla="*/ 3924 h 5294"/>
                <a:gd name="T36" fmla="*/ 1941 w 5066"/>
                <a:gd name="T37" fmla="*/ 3933 h 5294"/>
                <a:gd name="T38" fmla="*/ 1787 w 5066"/>
                <a:gd name="T39" fmla="*/ 3881 h 5294"/>
                <a:gd name="T40" fmla="*/ 1688 w 5066"/>
                <a:gd name="T41" fmla="*/ 3781 h 5294"/>
                <a:gd name="T42" fmla="*/ 1631 w 5066"/>
                <a:gd name="T43" fmla="*/ 3646 h 5294"/>
                <a:gd name="T44" fmla="*/ 1606 w 5066"/>
                <a:gd name="T45" fmla="*/ 3488 h 5294"/>
                <a:gd name="T46" fmla="*/ 1611 w 5066"/>
                <a:gd name="T47" fmla="*/ 3188 h 5294"/>
                <a:gd name="T48" fmla="*/ 1659 w 5066"/>
                <a:gd name="T49" fmla="*/ 2763 h 5294"/>
                <a:gd name="T50" fmla="*/ 1748 w 5066"/>
                <a:gd name="T51" fmla="*/ 2329 h 5294"/>
                <a:gd name="T52" fmla="*/ 1879 w 5066"/>
                <a:gd name="T53" fmla="*/ 1919 h 5294"/>
                <a:gd name="T54" fmla="*/ 2053 w 5066"/>
                <a:gd name="T55" fmla="*/ 1564 h 5294"/>
                <a:gd name="T56" fmla="*/ 2272 w 5066"/>
                <a:gd name="T57" fmla="*/ 1295 h 5294"/>
                <a:gd name="T58" fmla="*/ 1725 w 5066"/>
                <a:gd name="T59" fmla="*/ 1309 h 5294"/>
                <a:gd name="T60" fmla="*/ 1087 w 5066"/>
                <a:gd name="T61" fmla="*/ 1326 h 5294"/>
                <a:gd name="T62" fmla="*/ 556 w 5066"/>
                <a:gd name="T63" fmla="*/ 1456 h 5294"/>
                <a:gd name="T64" fmla="*/ 378 w 5066"/>
                <a:gd name="T65" fmla="*/ 1828 h 5294"/>
                <a:gd name="T66" fmla="*/ 230 w 5066"/>
                <a:gd name="T67" fmla="*/ 2231 h 5294"/>
                <a:gd name="T68" fmla="*/ 117 w 5066"/>
                <a:gd name="T69" fmla="*/ 2662 h 5294"/>
                <a:gd name="T70" fmla="*/ 39 w 5066"/>
                <a:gd name="T71" fmla="*/ 3114 h 5294"/>
                <a:gd name="T72" fmla="*/ 1 w 5066"/>
                <a:gd name="T73" fmla="*/ 3582 h 5294"/>
                <a:gd name="T74" fmla="*/ 25 w 5066"/>
                <a:gd name="T75" fmla="*/ 4022 h 5294"/>
                <a:gd name="T76" fmla="*/ 135 w 5066"/>
                <a:gd name="T77" fmla="*/ 4458 h 5294"/>
                <a:gd name="T78" fmla="*/ 338 w 5066"/>
                <a:gd name="T79" fmla="*/ 4843 h 5294"/>
                <a:gd name="T80" fmla="*/ 640 w 5066"/>
                <a:gd name="T81" fmla="*/ 5133 h 5294"/>
                <a:gd name="T82" fmla="*/ 1051 w 5066"/>
                <a:gd name="T83" fmla="*/ 5283 h 5294"/>
                <a:gd name="T84" fmla="*/ 1436 w 5066"/>
                <a:gd name="T85" fmla="*/ 5280 h 5294"/>
                <a:gd name="T86" fmla="*/ 1750 w 5066"/>
                <a:gd name="T87" fmla="*/ 5205 h 5294"/>
                <a:gd name="T88" fmla="*/ 2040 w 5066"/>
                <a:gd name="T89" fmla="*/ 5075 h 5294"/>
                <a:gd name="T90" fmla="*/ 2302 w 5066"/>
                <a:gd name="T91" fmla="*/ 4898 h 5294"/>
                <a:gd name="T92" fmla="*/ 2538 w 5066"/>
                <a:gd name="T93" fmla="*/ 4679 h 5294"/>
                <a:gd name="T94" fmla="*/ 2681 w 5066"/>
                <a:gd name="T95" fmla="*/ 4637 h 5294"/>
                <a:gd name="T96" fmla="*/ 2700 w 5066"/>
                <a:gd name="T97" fmla="*/ 5021 h 5294"/>
                <a:gd name="T98" fmla="*/ 2721 w 5066"/>
                <a:gd name="T99" fmla="*/ 5272 h 5294"/>
                <a:gd name="T100" fmla="*/ 4090 w 5066"/>
                <a:gd name="T101" fmla="*/ 4975 h 5294"/>
                <a:gd name="T102" fmla="*/ 4105 w 5066"/>
                <a:gd name="T103" fmla="*/ 4576 h 5294"/>
                <a:gd name="T104" fmla="*/ 4161 w 5066"/>
                <a:gd name="T105" fmla="*/ 4121 h 5294"/>
                <a:gd name="T106" fmla="*/ 4502 w 5066"/>
                <a:gd name="T107" fmla="*/ 2560 h 5294"/>
                <a:gd name="T108" fmla="*/ 4914 w 5066"/>
                <a:gd name="T109" fmla="*/ 744 h 5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66" h="5294">
                  <a:moveTo>
                    <a:pt x="5066" y="81"/>
                  </a:moveTo>
                  <a:lnTo>
                    <a:pt x="4954" y="71"/>
                  </a:lnTo>
                  <a:lnTo>
                    <a:pt x="4837" y="61"/>
                  </a:lnTo>
                  <a:lnTo>
                    <a:pt x="4717" y="52"/>
                  </a:lnTo>
                  <a:lnTo>
                    <a:pt x="4593" y="43"/>
                  </a:lnTo>
                  <a:lnTo>
                    <a:pt x="4466" y="34"/>
                  </a:lnTo>
                  <a:lnTo>
                    <a:pt x="4337" y="27"/>
                  </a:lnTo>
                  <a:lnTo>
                    <a:pt x="4206" y="21"/>
                  </a:lnTo>
                  <a:lnTo>
                    <a:pt x="4074" y="15"/>
                  </a:lnTo>
                  <a:lnTo>
                    <a:pt x="3942" y="10"/>
                  </a:lnTo>
                  <a:lnTo>
                    <a:pt x="3809" y="5"/>
                  </a:lnTo>
                  <a:lnTo>
                    <a:pt x="3678" y="3"/>
                  </a:lnTo>
                  <a:lnTo>
                    <a:pt x="3548" y="1"/>
                  </a:lnTo>
                  <a:lnTo>
                    <a:pt x="3419" y="0"/>
                  </a:lnTo>
                  <a:lnTo>
                    <a:pt x="3294" y="0"/>
                  </a:lnTo>
                  <a:lnTo>
                    <a:pt x="3171" y="1"/>
                  </a:lnTo>
                  <a:lnTo>
                    <a:pt x="3052" y="4"/>
                  </a:lnTo>
                  <a:lnTo>
                    <a:pt x="2963" y="8"/>
                  </a:lnTo>
                  <a:lnTo>
                    <a:pt x="2876" y="13"/>
                  </a:lnTo>
                  <a:lnTo>
                    <a:pt x="2789" y="20"/>
                  </a:lnTo>
                  <a:lnTo>
                    <a:pt x="2704" y="28"/>
                  </a:lnTo>
                  <a:lnTo>
                    <a:pt x="2620" y="39"/>
                  </a:lnTo>
                  <a:lnTo>
                    <a:pt x="2537" y="51"/>
                  </a:lnTo>
                  <a:lnTo>
                    <a:pt x="2456" y="64"/>
                  </a:lnTo>
                  <a:lnTo>
                    <a:pt x="2376" y="80"/>
                  </a:lnTo>
                  <a:lnTo>
                    <a:pt x="2297" y="96"/>
                  </a:lnTo>
                  <a:lnTo>
                    <a:pt x="2220" y="116"/>
                  </a:lnTo>
                  <a:lnTo>
                    <a:pt x="2144" y="137"/>
                  </a:lnTo>
                  <a:lnTo>
                    <a:pt x="2070" y="159"/>
                  </a:lnTo>
                  <a:lnTo>
                    <a:pt x="1996" y="183"/>
                  </a:lnTo>
                  <a:lnTo>
                    <a:pt x="1924" y="209"/>
                  </a:lnTo>
                  <a:lnTo>
                    <a:pt x="1853" y="238"/>
                  </a:lnTo>
                  <a:lnTo>
                    <a:pt x="1783" y="267"/>
                  </a:lnTo>
                  <a:lnTo>
                    <a:pt x="1715" y="299"/>
                  </a:lnTo>
                  <a:lnTo>
                    <a:pt x="1648" y="333"/>
                  </a:lnTo>
                  <a:lnTo>
                    <a:pt x="1582" y="368"/>
                  </a:lnTo>
                  <a:lnTo>
                    <a:pt x="1518" y="405"/>
                  </a:lnTo>
                  <a:lnTo>
                    <a:pt x="1455" y="444"/>
                  </a:lnTo>
                  <a:lnTo>
                    <a:pt x="1393" y="486"/>
                  </a:lnTo>
                  <a:lnTo>
                    <a:pt x="1333" y="529"/>
                  </a:lnTo>
                  <a:lnTo>
                    <a:pt x="1274" y="575"/>
                  </a:lnTo>
                  <a:lnTo>
                    <a:pt x="1216" y="622"/>
                  </a:lnTo>
                  <a:lnTo>
                    <a:pt x="1159" y="671"/>
                  </a:lnTo>
                  <a:lnTo>
                    <a:pt x="1103" y="722"/>
                  </a:lnTo>
                  <a:lnTo>
                    <a:pt x="1049" y="775"/>
                  </a:lnTo>
                  <a:lnTo>
                    <a:pt x="996" y="831"/>
                  </a:lnTo>
                  <a:lnTo>
                    <a:pt x="945" y="887"/>
                  </a:lnTo>
                  <a:lnTo>
                    <a:pt x="895" y="947"/>
                  </a:lnTo>
                  <a:lnTo>
                    <a:pt x="845" y="1008"/>
                  </a:lnTo>
                  <a:lnTo>
                    <a:pt x="1107" y="1006"/>
                  </a:lnTo>
                  <a:lnTo>
                    <a:pt x="1360" y="1005"/>
                  </a:lnTo>
                  <a:lnTo>
                    <a:pt x="1602" y="1004"/>
                  </a:lnTo>
                  <a:lnTo>
                    <a:pt x="1833" y="1003"/>
                  </a:lnTo>
                  <a:lnTo>
                    <a:pt x="2051" y="1001"/>
                  </a:lnTo>
                  <a:lnTo>
                    <a:pt x="2255" y="1001"/>
                  </a:lnTo>
                  <a:lnTo>
                    <a:pt x="2445" y="1000"/>
                  </a:lnTo>
                  <a:lnTo>
                    <a:pt x="2619" y="999"/>
                  </a:lnTo>
                  <a:lnTo>
                    <a:pt x="2776" y="999"/>
                  </a:lnTo>
                  <a:lnTo>
                    <a:pt x="2916" y="998"/>
                  </a:lnTo>
                  <a:lnTo>
                    <a:pt x="3037" y="998"/>
                  </a:lnTo>
                  <a:lnTo>
                    <a:pt x="3139" y="997"/>
                  </a:lnTo>
                  <a:lnTo>
                    <a:pt x="3219" y="997"/>
                  </a:lnTo>
                  <a:lnTo>
                    <a:pt x="3278" y="997"/>
                  </a:lnTo>
                  <a:lnTo>
                    <a:pt x="3315" y="997"/>
                  </a:lnTo>
                  <a:lnTo>
                    <a:pt x="3327" y="997"/>
                  </a:lnTo>
                  <a:lnTo>
                    <a:pt x="3293" y="1144"/>
                  </a:lnTo>
                  <a:lnTo>
                    <a:pt x="3294" y="1144"/>
                  </a:lnTo>
                  <a:lnTo>
                    <a:pt x="3295" y="1145"/>
                  </a:lnTo>
                  <a:lnTo>
                    <a:pt x="3229" y="1425"/>
                  </a:lnTo>
                  <a:lnTo>
                    <a:pt x="3167" y="1688"/>
                  </a:lnTo>
                  <a:lnTo>
                    <a:pt x="3110" y="1930"/>
                  </a:lnTo>
                  <a:lnTo>
                    <a:pt x="3058" y="2155"/>
                  </a:lnTo>
                  <a:lnTo>
                    <a:pt x="3011" y="2360"/>
                  </a:lnTo>
                  <a:lnTo>
                    <a:pt x="2970" y="2546"/>
                  </a:lnTo>
                  <a:lnTo>
                    <a:pt x="2933" y="2714"/>
                  </a:lnTo>
                  <a:lnTo>
                    <a:pt x="2900" y="2864"/>
                  </a:lnTo>
                  <a:lnTo>
                    <a:pt x="2872" y="2996"/>
                  </a:lnTo>
                  <a:lnTo>
                    <a:pt x="2848" y="3110"/>
                  </a:lnTo>
                  <a:lnTo>
                    <a:pt x="2827" y="3205"/>
                  </a:lnTo>
                  <a:lnTo>
                    <a:pt x="2812" y="3283"/>
                  </a:lnTo>
                  <a:lnTo>
                    <a:pt x="2799" y="3343"/>
                  </a:lnTo>
                  <a:lnTo>
                    <a:pt x="2791" y="3387"/>
                  </a:lnTo>
                  <a:lnTo>
                    <a:pt x="2786" y="3412"/>
                  </a:lnTo>
                  <a:lnTo>
                    <a:pt x="2785" y="3421"/>
                  </a:lnTo>
                  <a:lnTo>
                    <a:pt x="2757" y="3462"/>
                  </a:lnTo>
                  <a:lnTo>
                    <a:pt x="2727" y="3505"/>
                  </a:lnTo>
                  <a:lnTo>
                    <a:pt x="2696" y="3550"/>
                  </a:lnTo>
                  <a:lnTo>
                    <a:pt x="2661" y="3594"/>
                  </a:lnTo>
                  <a:lnTo>
                    <a:pt x="2643" y="3616"/>
                  </a:lnTo>
                  <a:lnTo>
                    <a:pt x="2624" y="3638"/>
                  </a:lnTo>
                  <a:lnTo>
                    <a:pt x="2605" y="3659"/>
                  </a:lnTo>
                  <a:lnTo>
                    <a:pt x="2584" y="3680"/>
                  </a:lnTo>
                  <a:lnTo>
                    <a:pt x="2563" y="3701"/>
                  </a:lnTo>
                  <a:lnTo>
                    <a:pt x="2542" y="3721"/>
                  </a:lnTo>
                  <a:lnTo>
                    <a:pt x="2520" y="3742"/>
                  </a:lnTo>
                  <a:lnTo>
                    <a:pt x="2496" y="3760"/>
                  </a:lnTo>
                  <a:lnTo>
                    <a:pt x="2472" y="3779"/>
                  </a:lnTo>
                  <a:lnTo>
                    <a:pt x="2447" y="3798"/>
                  </a:lnTo>
                  <a:lnTo>
                    <a:pt x="2421" y="3815"/>
                  </a:lnTo>
                  <a:lnTo>
                    <a:pt x="2396" y="3831"/>
                  </a:lnTo>
                  <a:lnTo>
                    <a:pt x="2369" y="3846"/>
                  </a:lnTo>
                  <a:lnTo>
                    <a:pt x="2340" y="3861"/>
                  </a:lnTo>
                  <a:lnTo>
                    <a:pt x="2311" y="3874"/>
                  </a:lnTo>
                  <a:lnTo>
                    <a:pt x="2281" y="3886"/>
                  </a:lnTo>
                  <a:lnTo>
                    <a:pt x="2251" y="3898"/>
                  </a:lnTo>
                  <a:lnTo>
                    <a:pt x="2219" y="3908"/>
                  </a:lnTo>
                  <a:lnTo>
                    <a:pt x="2185" y="3916"/>
                  </a:lnTo>
                  <a:lnTo>
                    <a:pt x="2151" y="3924"/>
                  </a:lnTo>
                  <a:lnTo>
                    <a:pt x="2117" y="3929"/>
                  </a:lnTo>
                  <a:lnTo>
                    <a:pt x="2081" y="3933"/>
                  </a:lnTo>
                  <a:lnTo>
                    <a:pt x="2045" y="3936"/>
                  </a:lnTo>
                  <a:lnTo>
                    <a:pt x="2006" y="3936"/>
                  </a:lnTo>
                  <a:lnTo>
                    <a:pt x="1973" y="3936"/>
                  </a:lnTo>
                  <a:lnTo>
                    <a:pt x="1941" y="3933"/>
                  </a:lnTo>
                  <a:lnTo>
                    <a:pt x="1911" y="3929"/>
                  </a:lnTo>
                  <a:lnTo>
                    <a:pt x="1883" y="3923"/>
                  </a:lnTo>
                  <a:lnTo>
                    <a:pt x="1857" y="3914"/>
                  </a:lnTo>
                  <a:lnTo>
                    <a:pt x="1833" y="3905"/>
                  </a:lnTo>
                  <a:lnTo>
                    <a:pt x="1809" y="3894"/>
                  </a:lnTo>
                  <a:lnTo>
                    <a:pt x="1787" y="3881"/>
                  </a:lnTo>
                  <a:lnTo>
                    <a:pt x="1767" y="3868"/>
                  </a:lnTo>
                  <a:lnTo>
                    <a:pt x="1749" y="3853"/>
                  </a:lnTo>
                  <a:lnTo>
                    <a:pt x="1731" y="3837"/>
                  </a:lnTo>
                  <a:lnTo>
                    <a:pt x="1716" y="3819"/>
                  </a:lnTo>
                  <a:lnTo>
                    <a:pt x="1701" y="3801"/>
                  </a:lnTo>
                  <a:lnTo>
                    <a:pt x="1688" y="3781"/>
                  </a:lnTo>
                  <a:lnTo>
                    <a:pt x="1675" y="3760"/>
                  </a:lnTo>
                  <a:lnTo>
                    <a:pt x="1664" y="3740"/>
                  </a:lnTo>
                  <a:lnTo>
                    <a:pt x="1653" y="3717"/>
                  </a:lnTo>
                  <a:lnTo>
                    <a:pt x="1645" y="3694"/>
                  </a:lnTo>
                  <a:lnTo>
                    <a:pt x="1637" y="3670"/>
                  </a:lnTo>
                  <a:lnTo>
                    <a:pt x="1631" y="3646"/>
                  </a:lnTo>
                  <a:lnTo>
                    <a:pt x="1625" y="3620"/>
                  </a:lnTo>
                  <a:lnTo>
                    <a:pt x="1619" y="3595"/>
                  </a:lnTo>
                  <a:lnTo>
                    <a:pt x="1615" y="3568"/>
                  </a:lnTo>
                  <a:lnTo>
                    <a:pt x="1611" y="3543"/>
                  </a:lnTo>
                  <a:lnTo>
                    <a:pt x="1608" y="3516"/>
                  </a:lnTo>
                  <a:lnTo>
                    <a:pt x="1606" y="3488"/>
                  </a:lnTo>
                  <a:lnTo>
                    <a:pt x="1605" y="3461"/>
                  </a:lnTo>
                  <a:lnTo>
                    <a:pt x="1604" y="3433"/>
                  </a:lnTo>
                  <a:lnTo>
                    <a:pt x="1603" y="3378"/>
                  </a:lnTo>
                  <a:lnTo>
                    <a:pt x="1604" y="3324"/>
                  </a:lnTo>
                  <a:lnTo>
                    <a:pt x="1607" y="3257"/>
                  </a:lnTo>
                  <a:lnTo>
                    <a:pt x="1611" y="3188"/>
                  </a:lnTo>
                  <a:lnTo>
                    <a:pt x="1616" y="3120"/>
                  </a:lnTo>
                  <a:lnTo>
                    <a:pt x="1622" y="3050"/>
                  </a:lnTo>
                  <a:lnTo>
                    <a:pt x="1630" y="2979"/>
                  </a:lnTo>
                  <a:lnTo>
                    <a:pt x="1638" y="2907"/>
                  </a:lnTo>
                  <a:lnTo>
                    <a:pt x="1647" y="2835"/>
                  </a:lnTo>
                  <a:lnTo>
                    <a:pt x="1659" y="2763"/>
                  </a:lnTo>
                  <a:lnTo>
                    <a:pt x="1670" y="2691"/>
                  </a:lnTo>
                  <a:lnTo>
                    <a:pt x="1684" y="2618"/>
                  </a:lnTo>
                  <a:lnTo>
                    <a:pt x="1698" y="2545"/>
                  </a:lnTo>
                  <a:lnTo>
                    <a:pt x="1714" y="2473"/>
                  </a:lnTo>
                  <a:lnTo>
                    <a:pt x="1730" y="2400"/>
                  </a:lnTo>
                  <a:lnTo>
                    <a:pt x="1748" y="2329"/>
                  </a:lnTo>
                  <a:lnTo>
                    <a:pt x="1766" y="2259"/>
                  </a:lnTo>
                  <a:lnTo>
                    <a:pt x="1786" y="2189"/>
                  </a:lnTo>
                  <a:lnTo>
                    <a:pt x="1808" y="2119"/>
                  </a:lnTo>
                  <a:lnTo>
                    <a:pt x="1830" y="2051"/>
                  </a:lnTo>
                  <a:lnTo>
                    <a:pt x="1854" y="1984"/>
                  </a:lnTo>
                  <a:lnTo>
                    <a:pt x="1879" y="1919"/>
                  </a:lnTo>
                  <a:lnTo>
                    <a:pt x="1905" y="1855"/>
                  </a:lnTo>
                  <a:lnTo>
                    <a:pt x="1932" y="1793"/>
                  </a:lnTo>
                  <a:lnTo>
                    <a:pt x="1961" y="1732"/>
                  </a:lnTo>
                  <a:lnTo>
                    <a:pt x="1990" y="1674"/>
                  </a:lnTo>
                  <a:lnTo>
                    <a:pt x="2021" y="1618"/>
                  </a:lnTo>
                  <a:lnTo>
                    <a:pt x="2053" y="1564"/>
                  </a:lnTo>
                  <a:lnTo>
                    <a:pt x="2086" y="1512"/>
                  </a:lnTo>
                  <a:lnTo>
                    <a:pt x="2121" y="1464"/>
                  </a:lnTo>
                  <a:lnTo>
                    <a:pt x="2158" y="1417"/>
                  </a:lnTo>
                  <a:lnTo>
                    <a:pt x="2194" y="1374"/>
                  </a:lnTo>
                  <a:lnTo>
                    <a:pt x="2232" y="1334"/>
                  </a:lnTo>
                  <a:lnTo>
                    <a:pt x="2272" y="1295"/>
                  </a:lnTo>
                  <a:lnTo>
                    <a:pt x="2188" y="1297"/>
                  </a:lnTo>
                  <a:lnTo>
                    <a:pt x="2101" y="1299"/>
                  </a:lnTo>
                  <a:lnTo>
                    <a:pt x="2011" y="1302"/>
                  </a:lnTo>
                  <a:lnTo>
                    <a:pt x="1917" y="1304"/>
                  </a:lnTo>
                  <a:lnTo>
                    <a:pt x="1822" y="1307"/>
                  </a:lnTo>
                  <a:lnTo>
                    <a:pt x="1725" y="1309"/>
                  </a:lnTo>
                  <a:lnTo>
                    <a:pt x="1625" y="1311"/>
                  </a:lnTo>
                  <a:lnTo>
                    <a:pt x="1521" y="1314"/>
                  </a:lnTo>
                  <a:lnTo>
                    <a:pt x="1416" y="1317"/>
                  </a:lnTo>
                  <a:lnTo>
                    <a:pt x="1309" y="1320"/>
                  </a:lnTo>
                  <a:lnTo>
                    <a:pt x="1199" y="1323"/>
                  </a:lnTo>
                  <a:lnTo>
                    <a:pt x="1087" y="1326"/>
                  </a:lnTo>
                  <a:lnTo>
                    <a:pt x="975" y="1330"/>
                  </a:lnTo>
                  <a:lnTo>
                    <a:pt x="859" y="1334"/>
                  </a:lnTo>
                  <a:lnTo>
                    <a:pt x="741" y="1338"/>
                  </a:lnTo>
                  <a:lnTo>
                    <a:pt x="622" y="1342"/>
                  </a:lnTo>
                  <a:lnTo>
                    <a:pt x="588" y="1399"/>
                  </a:lnTo>
                  <a:lnTo>
                    <a:pt x="556" y="1456"/>
                  </a:lnTo>
                  <a:lnTo>
                    <a:pt x="524" y="1516"/>
                  </a:lnTo>
                  <a:lnTo>
                    <a:pt x="494" y="1576"/>
                  </a:lnTo>
                  <a:lnTo>
                    <a:pt x="463" y="1638"/>
                  </a:lnTo>
                  <a:lnTo>
                    <a:pt x="434" y="1700"/>
                  </a:lnTo>
                  <a:lnTo>
                    <a:pt x="406" y="1763"/>
                  </a:lnTo>
                  <a:lnTo>
                    <a:pt x="378" y="1828"/>
                  </a:lnTo>
                  <a:lnTo>
                    <a:pt x="351" y="1893"/>
                  </a:lnTo>
                  <a:lnTo>
                    <a:pt x="326" y="1958"/>
                  </a:lnTo>
                  <a:lnTo>
                    <a:pt x="301" y="2026"/>
                  </a:lnTo>
                  <a:lnTo>
                    <a:pt x="276" y="2094"/>
                  </a:lnTo>
                  <a:lnTo>
                    <a:pt x="253" y="2162"/>
                  </a:lnTo>
                  <a:lnTo>
                    <a:pt x="230" y="2231"/>
                  </a:lnTo>
                  <a:lnTo>
                    <a:pt x="210" y="2301"/>
                  </a:lnTo>
                  <a:lnTo>
                    <a:pt x="189" y="2371"/>
                  </a:lnTo>
                  <a:lnTo>
                    <a:pt x="169" y="2444"/>
                  </a:lnTo>
                  <a:lnTo>
                    <a:pt x="151" y="2515"/>
                  </a:lnTo>
                  <a:lnTo>
                    <a:pt x="133" y="2588"/>
                  </a:lnTo>
                  <a:lnTo>
                    <a:pt x="117" y="2662"/>
                  </a:lnTo>
                  <a:lnTo>
                    <a:pt x="101" y="2736"/>
                  </a:lnTo>
                  <a:lnTo>
                    <a:pt x="86" y="2810"/>
                  </a:lnTo>
                  <a:lnTo>
                    <a:pt x="73" y="2885"/>
                  </a:lnTo>
                  <a:lnTo>
                    <a:pt x="61" y="2961"/>
                  </a:lnTo>
                  <a:lnTo>
                    <a:pt x="49" y="3037"/>
                  </a:lnTo>
                  <a:lnTo>
                    <a:pt x="39" y="3114"/>
                  </a:lnTo>
                  <a:lnTo>
                    <a:pt x="30" y="3190"/>
                  </a:lnTo>
                  <a:lnTo>
                    <a:pt x="21" y="3268"/>
                  </a:lnTo>
                  <a:lnTo>
                    <a:pt x="14" y="3345"/>
                  </a:lnTo>
                  <a:lnTo>
                    <a:pt x="9" y="3424"/>
                  </a:lnTo>
                  <a:lnTo>
                    <a:pt x="4" y="3502"/>
                  </a:lnTo>
                  <a:lnTo>
                    <a:pt x="1" y="3582"/>
                  </a:lnTo>
                  <a:lnTo>
                    <a:pt x="0" y="3653"/>
                  </a:lnTo>
                  <a:lnTo>
                    <a:pt x="0" y="3726"/>
                  </a:lnTo>
                  <a:lnTo>
                    <a:pt x="3" y="3800"/>
                  </a:lnTo>
                  <a:lnTo>
                    <a:pt x="8" y="3873"/>
                  </a:lnTo>
                  <a:lnTo>
                    <a:pt x="16" y="3947"/>
                  </a:lnTo>
                  <a:lnTo>
                    <a:pt x="25" y="4022"/>
                  </a:lnTo>
                  <a:lnTo>
                    <a:pt x="38" y="4096"/>
                  </a:lnTo>
                  <a:lnTo>
                    <a:pt x="52" y="4170"/>
                  </a:lnTo>
                  <a:lnTo>
                    <a:pt x="70" y="4244"/>
                  </a:lnTo>
                  <a:lnTo>
                    <a:pt x="89" y="4316"/>
                  </a:lnTo>
                  <a:lnTo>
                    <a:pt x="111" y="4387"/>
                  </a:lnTo>
                  <a:lnTo>
                    <a:pt x="135" y="4458"/>
                  </a:lnTo>
                  <a:lnTo>
                    <a:pt x="163" y="4527"/>
                  </a:lnTo>
                  <a:lnTo>
                    <a:pt x="192" y="4594"/>
                  </a:lnTo>
                  <a:lnTo>
                    <a:pt x="225" y="4660"/>
                  </a:lnTo>
                  <a:lnTo>
                    <a:pt x="259" y="4723"/>
                  </a:lnTo>
                  <a:lnTo>
                    <a:pt x="298" y="4784"/>
                  </a:lnTo>
                  <a:lnTo>
                    <a:pt x="338" y="4843"/>
                  </a:lnTo>
                  <a:lnTo>
                    <a:pt x="381" y="4900"/>
                  </a:lnTo>
                  <a:lnTo>
                    <a:pt x="427" y="4953"/>
                  </a:lnTo>
                  <a:lnTo>
                    <a:pt x="477" y="5003"/>
                  </a:lnTo>
                  <a:lnTo>
                    <a:pt x="528" y="5050"/>
                  </a:lnTo>
                  <a:lnTo>
                    <a:pt x="582" y="5094"/>
                  </a:lnTo>
                  <a:lnTo>
                    <a:pt x="640" y="5133"/>
                  </a:lnTo>
                  <a:lnTo>
                    <a:pt x="701" y="5169"/>
                  </a:lnTo>
                  <a:lnTo>
                    <a:pt x="764" y="5201"/>
                  </a:lnTo>
                  <a:lnTo>
                    <a:pt x="832" y="5229"/>
                  </a:lnTo>
                  <a:lnTo>
                    <a:pt x="902" y="5252"/>
                  </a:lnTo>
                  <a:lnTo>
                    <a:pt x="975" y="5270"/>
                  </a:lnTo>
                  <a:lnTo>
                    <a:pt x="1051" y="5283"/>
                  </a:lnTo>
                  <a:lnTo>
                    <a:pt x="1130" y="5291"/>
                  </a:lnTo>
                  <a:lnTo>
                    <a:pt x="1213" y="5294"/>
                  </a:lnTo>
                  <a:lnTo>
                    <a:pt x="1270" y="5293"/>
                  </a:lnTo>
                  <a:lnTo>
                    <a:pt x="1325" y="5290"/>
                  </a:lnTo>
                  <a:lnTo>
                    <a:pt x="1381" y="5286"/>
                  </a:lnTo>
                  <a:lnTo>
                    <a:pt x="1436" y="5280"/>
                  </a:lnTo>
                  <a:lnTo>
                    <a:pt x="1490" y="5271"/>
                  </a:lnTo>
                  <a:lnTo>
                    <a:pt x="1543" y="5261"/>
                  </a:lnTo>
                  <a:lnTo>
                    <a:pt x="1596" y="5250"/>
                  </a:lnTo>
                  <a:lnTo>
                    <a:pt x="1648" y="5236"/>
                  </a:lnTo>
                  <a:lnTo>
                    <a:pt x="1699" y="5222"/>
                  </a:lnTo>
                  <a:lnTo>
                    <a:pt x="1750" y="5205"/>
                  </a:lnTo>
                  <a:lnTo>
                    <a:pt x="1799" y="5188"/>
                  </a:lnTo>
                  <a:lnTo>
                    <a:pt x="1849" y="5168"/>
                  </a:lnTo>
                  <a:lnTo>
                    <a:pt x="1898" y="5147"/>
                  </a:lnTo>
                  <a:lnTo>
                    <a:pt x="1945" y="5125"/>
                  </a:lnTo>
                  <a:lnTo>
                    <a:pt x="1993" y="5101"/>
                  </a:lnTo>
                  <a:lnTo>
                    <a:pt x="2040" y="5075"/>
                  </a:lnTo>
                  <a:lnTo>
                    <a:pt x="2085" y="5049"/>
                  </a:lnTo>
                  <a:lnTo>
                    <a:pt x="2130" y="5021"/>
                  </a:lnTo>
                  <a:lnTo>
                    <a:pt x="2174" y="4993"/>
                  </a:lnTo>
                  <a:lnTo>
                    <a:pt x="2218" y="4962"/>
                  </a:lnTo>
                  <a:lnTo>
                    <a:pt x="2260" y="4931"/>
                  </a:lnTo>
                  <a:lnTo>
                    <a:pt x="2302" y="4898"/>
                  </a:lnTo>
                  <a:lnTo>
                    <a:pt x="2344" y="4863"/>
                  </a:lnTo>
                  <a:lnTo>
                    <a:pt x="2384" y="4828"/>
                  </a:lnTo>
                  <a:lnTo>
                    <a:pt x="2424" y="4793"/>
                  </a:lnTo>
                  <a:lnTo>
                    <a:pt x="2463" y="4756"/>
                  </a:lnTo>
                  <a:lnTo>
                    <a:pt x="2501" y="4718"/>
                  </a:lnTo>
                  <a:lnTo>
                    <a:pt x="2538" y="4679"/>
                  </a:lnTo>
                  <a:lnTo>
                    <a:pt x="2576" y="4638"/>
                  </a:lnTo>
                  <a:lnTo>
                    <a:pt x="2612" y="4598"/>
                  </a:lnTo>
                  <a:lnTo>
                    <a:pt x="2647" y="4556"/>
                  </a:lnTo>
                  <a:lnTo>
                    <a:pt x="2681" y="4513"/>
                  </a:lnTo>
                  <a:lnTo>
                    <a:pt x="2681" y="4574"/>
                  </a:lnTo>
                  <a:lnTo>
                    <a:pt x="2681" y="4637"/>
                  </a:lnTo>
                  <a:lnTo>
                    <a:pt x="2683" y="4702"/>
                  </a:lnTo>
                  <a:lnTo>
                    <a:pt x="2685" y="4768"/>
                  </a:lnTo>
                  <a:lnTo>
                    <a:pt x="2688" y="4833"/>
                  </a:lnTo>
                  <a:lnTo>
                    <a:pt x="2692" y="4899"/>
                  </a:lnTo>
                  <a:lnTo>
                    <a:pt x="2696" y="4962"/>
                  </a:lnTo>
                  <a:lnTo>
                    <a:pt x="2700" y="5021"/>
                  </a:lnTo>
                  <a:lnTo>
                    <a:pt x="2704" y="5077"/>
                  </a:lnTo>
                  <a:lnTo>
                    <a:pt x="2708" y="5130"/>
                  </a:lnTo>
                  <a:lnTo>
                    <a:pt x="2712" y="5175"/>
                  </a:lnTo>
                  <a:lnTo>
                    <a:pt x="2715" y="5216"/>
                  </a:lnTo>
                  <a:lnTo>
                    <a:pt x="2719" y="5248"/>
                  </a:lnTo>
                  <a:lnTo>
                    <a:pt x="2721" y="5272"/>
                  </a:lnTo>
                  <a:lnTo>
                    <a:pt x="2723" y="5288"/>
                  </a:lnTo>
                  <a:lnTo>
                    <a:pt x="2723" y="5293"/>
                  </a:lnTo>
                  <a:lnTo>
                    <a:pt x="4092" y="5128"/>
                  </a:lnTo>
                  <a:lnTo>
                    <a:pt x="4091" y="5081"/>
                  </a:lnTo>
                  <a:lnTo>
                    <a:pt x="4090" y="5031"/>
                  </a:lnTo>
                  <a:lnTo>
                    <a:pt x="4090" y="4975"/>
                  </a:lnTo>
                  <a:lnTo>
                    <a:pt x="4091" y="4916"/>
                  </a:lnTo>
                  <a:lnTo>
                    <a:pt x="4092" y="4854"/>
                  </a:lnTo>
                  <a:lnTo>
                    <a:pt x="4094" y="4788"/>
                  </a:lnTo>
                  <a:lnTo>
                    <a:pt x="4096" y="4720"/>
                  </a:lnTo>
                  <a:lnTo>
                    <a:pt x="4100" y="4649"/>
                  </a:lnTo>
                  <a:lnTo>
                    <a:pt x="4105" y="4576"/>
                  </a:lnTo>
                  <a:lnTo>
                    <a:pt x="4111" y="4502"/>
                  </a:lnTo>
                  <a:lnTo>
                    <a:pt x="4118" y="4427"/>
                  </a:lnTo>
                  <a:lnTo>
                    <a:pt x="4127" y="4350"/>
                  </a:lnTo>
                  <a:lnTo>
                    <a:pt x="4137" y="4274"/>
                  </a:lnTo>
                  <a:lnTo>
                    <a:pt x="4149" y="4197"/>
                  </a:lnTo>
                  <a:lnTo>
                    <a:pt x="4161" y="4121"/>
                  </a:lnTo>
                  <a:lnTo>
                    <a:pt x="4177" y="4044"/>
                  </a:lnTo>
                  <a:lnTo>
                    <a:pt x="4231" y="3790"/>
                  </a:lnTo>
                  <a:lnTo>
                    <a:pt x="4293" y="3509"/>
                  </a:lnTo>
                  <a:lnTo>
                    <a:pt x="4359" y="3205"/>
                  </a:lnTo>
                  <a:lnTo>
                    <a:pt x="4429" y="2888"/>
                  </a:lnTo>
                  <a:lnTo>
                    <a:pt x="4502" y="2560"/>
                  </a:lnTo>
                  <a:lnTo>
                    <a:pt x="4576" y="2230"/>
                  </a:lnTo>
                  <a:lnTo>
                    <a:pt x="4650" y="1903"/>
                  </a:lnTo>
                  <a:lnTo>
                    <a:pt x="4722" y="1585"/>
                  </a:lnTo>
                  <a:lnTo>
                    <a:pt x="4791" y="1281"/>
                  </a:lnTo>
                  <a:lnTo>
                    <a:pt x="4856" y="999"/>
                  </a:lnTo>
                  <a:lnTo>
                    <a:pt x="4914" y="744"/>
                  </a:lnTo>
                  <a:lnTo>
                    <a:pt x="4964" y="521"/>
                  </a:lnTo>
                  <a:lnTo>
                    <a:pt x="5007" y="338"/>
                  </a:lnTo>
                  <a:lnTo>
                    <a:pt x="5038" y="200"/>
                  </a:lnTo>
                  <a:lnTo>
                    <a:pt x="5059" y="112"/>
                  </a:lnTo>
                  <a:lnTo>
                    <a:pt x="5066" y="81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96E769DE-5192-4D88-93BC-8FED315A482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465809" y="6119995"/>
              <a:ext cx="288483" cy="259636"/>
            </a:xfrm>
            <a:custGeom>
              <a:avLst/>
              <a:gdLst>
                <a:gd name="T0" fmla="*/ 2869 w 3912"/>
                <a:gd name="T1" fmla="*/ 283 h 3530"/>
                <a:gd name="T2" fmla="*/ 2669 w 3912"/>
                <a:gd name="T3" fmla="*/ 133 h 3530"/>
                <a:gd name="T4" fmla="*/ 2539 w 3912"/>
                <a:gd name="T5" fmla="*/ 24 h 3530"/>
                <a:gd name="T6" fmla="*/ 2360 w 3912"/>
                <a:gd name="T7" fmla="*/ 20 h 3530"/>
                <a:gd name="T8" fmla="*/ 2160 w 3912"/>
                <a:gd name="T9" fmla="*/ 46 h 3530"/>
                <a:gd name="T10" fmla="*/ 1964 w 3912"/>
                <a:gd name="T11" fmla="*/ 74 h 3530"/>
                <a:gd name="T12" fmla="*/ 1774 w 3912"/>
                <a:gd name="T13" fmla="*/ 102 h 3530"/>
                <a:gd name="T14" fmla="*/ 1512 w 3912"/>
                <a:gd name="T15" fmla="*/ 145 h 3530"/>
                <a:gd name="T16" fmla="*/ 1235 w 3912"/>
                <a:gd name="T17" fmla="*/ 192 h 3530"/>
                <a:gd name="T18" fmla="*/ 966 w 3912"/>
                <a:gd name="T19" fmla="*/ 240 h 3530"/>
                <a:gd name="T20" fmla="*/ 707 w 3912"/>
                <a:gd name="T21" fmla="*/ 289 h 3530"/>
                <a:gd name="T22" fmla="*/ 675 w 3912"/>
                <a:gd name="T23" fmla="*/ 421 h 3530"/>
                <a:gd name="T24" fmla="*/ 732 w 3912"/>
                <a:gd name="T25" fmla="*/ 568 h 3530"/>
                <a:gd name="T26" fmla="*/ 808 w 3912"/>
                <a:gd name="T27" fmla="*/ 702 h 3530"/>
                <a:gd name="T28" fmla="*/ 902 w 3912"/>
                <a:gd name="T29" fmla="*/ 826 h 3530"/>
                <a:gd name="T30" fmla="*/ 1013 w 3912"/>
                <a:gd name="T31" fmla="*/ 945 h 3530"/>
                <a:gd name="T32" fmla="*/ 1139 w 3912"/>
                <a:gd name="T33" fmla="*/ 1059 h 3530"/>
                <a:gd name="T34" fmla="*/ 1396 w 3912"/>
                <a:gd name="T35" fmla="*/ 1256 h 3530"/>
                <a:gd name="T36" fmla="*/ 1650 w 3912"/>
                <a:gd name="T37" fmla="*/ 1422 h 3530"/>
                <a:gd name="T38" fmla="*/ 1865 w 3912"/>
                <a:gd name="T39" fmla="*/ 1562 h 3530"/>
                <a:gd name="T40" fmla="*/ 1996 w 3912"/>
                <a:gd name="T41" fmla="*/ 1664 h 3530"/>
                <a:gd name="T42" fmla="*/ 2081 w 3912"/>
                <a:gd name="T43" fmla="*/ 1751 h 3530"/>
                <a:gd name="T44" fmla="*/ 2115 w 3912"/>
                <a:gd name="T45" fmla="*/ 1809 h 3530"/>
                <a:gd name="T46" fmla="*/ 2131 w 3912"/>
                <a:gd name="T47" fmla="*/ 1871 h 3530"/>
                <a:gd name="T48" fmla="*/ 2130 w 3912"/>
                <a:gd name="T49" fmla="*/ 1935 h 3530"/>
                <a:gd name="T50" fmla="*/ 2112 w 3912"/>
                <a:gd name="T51" fmla="*/ 2008 h 3530"/>
                <a:gd name="T52" fmla="*/ 2070 w 3912"/>
                <a:gd name="T53" fmla="*/ 2104 h 3530"/>
                <a:gd name="T54" fmla="*/ 2009 w 3912"/>
                <a:gd name="T55" fmla="*/ 2180 h 3530"/>
                <a:gd name="T56" fmla="*/ 1930 w 3912"/>
                <a:gd name="T57" fmla="*/ 2239 h 3530"/>
                <a:gd name="T58" fmla="*/ 1838 w 3912"/>
                <a:gd name="T59" fmla="*/ 2282 h 3530"/>
                <a:gd name="T60" fmla="*/ 1731 w 3912"/>
                <a:gd name="T61" fmla="*/ 2313 h 3530"/>
                <a:gd name="T62" fmla="*/ 1613 w 3912"/>
                <a:gd name="T63" fmla="*/ 2332 h 3530"/>
                <a:gd name="T64" fmla="*/ 1451 w 3912"/>
                <a:gd name="T65" fmla="*/ 2343 h 3530"/>
                <a:gd name="T66" fmla="*/ 1203 w 3912"/>
                <a:gd name="T67" fmla="*/ 2342 h 3530"/>
                <a:gd name="T68" fmla="*/ 984 w 3912"/>
                <a:gd name="T69" fmla="*/ 2330 h 3530"/>
                <a:gd name="T70" fmla="*/ 664 w 3912"/>
                <a:gd name="T71" fmla="*/ 2292 h 3530"/>
                <a:gd name="T72" fmla="*/ 411 w 3912"/>
                <a:gd name="T73" fmla="*/ 2241 h 3530"/>
                <a:gd name="T74" fmla="*/ 296 w 3912"/>
                <a:gd name="T75" fmla="*/ 2211 h 3530"/>
                <a:gd name="T76" fmla="*/ 33 w 3912"/>
                <a:gd name="T77" fmla="*/ 3415 h 3530"/>
                <a:gd name="T78" fmla="*/ 289 w 3912"/>
                <a:gd name="T79" fmla="*/ 3458 h 3530"/>
                <a:gd name="T80" fmla="*/ 626 w 3912"/>
                <a:gd name="T81" fmla="*/ 3497 h 3530"/>
                <a:gd name="T82" fmla="*/ 911 w 3912"/>
                <a:gd name="T83" fmla="*/ 3517 h 3530"/>
                <a:gd name="T84" fmla="*/ 1239 w 3912"/>
                <a:gd name="T85" fmla="*/ 3529 h 3530"/>
                <a:gd name="T86" fmla="*/ 1605 w 3912"/>
                <a:gd name="T87" fmla="*/ 3526 h 3530"/>
                <a:gd name="T88" fmla="*/ 2057 w 3912"/>
                <a:gd name="T89" fmla="*/ 3493 h 3530"/>
                <a:gd name="T90" fmla="*/ 2518 w 3912"/>
                <a:gd name="T91" fmla="*/ 3389 h 3530"/>
                <a:gd name="T92" fmla="*/ 2911 w 3912"/>
                <a:gd name="T93" fmla="*/ 3223 h 3530"/>
                <a:gd name="T94" fmla="*/ 3237 w 3912"/>
                <a:gd name="T95" fmla="*/ 3003 h 3530"/>
                <a:gd name="T96" fmla="*/ 3497 w 3912"/>
                <a:gd name="T97" fmla="*/ 2740 h 3530"/>
                <a:gd name="T98" fmla="*/ 3694 w 3912"/>
                <a:gd name="T99" fmla="*/ 2445 h 3530"/>
                <a:gd name="T100" fmla="*/ 3827 w 3912"/>
                <a:gd name="T101" fmla="*/ 2128 h 3530"/>
                <a:gd name="T102" fmla="*/ 3899 w 3912"/>
                <a:gd name="T103" fmla="*/ 1800 h 3530"/>
                <a:gd name="T104" fmla="*/ 3910 w 3912"/>
                <a:gd name="T105" fmla="*/ 1533 h 3530"/>
                <a:gd name="T106" fmla="*/ 3875 w 3912"/>
                <a:gd name="T107" fmla="*/ 1340 h 3530"/>
                <a:gd name="T108" fmla="*/ 3805 w 3912"/>
                <a:gd name="T109" fmla="*/ 1164 h 3530"/>
                <a:gd name="T110" fmla="*/ 3702 w 3912"/>
                <a:gd name="T111" fmla="*/ 1000 h 3530"/>
                <a:gd name="T112" fmla="*/ 3575 w 3912"/>
                <a:gd name="T113" fmla="*/ 848 h 3530"/>
                <a:gd name="T114" fmla="*/ 3427 w 3912"/>
                <a:gd name="T115" fmla="*/ 706 h 3530"/>
                <a:gd name="T116" fmla="*/ 3265 w 3912"/>
                <a:gd name="T117" fmla="*/ 573 h 3530"/>
                <a:gd name="T118" fmla="*/ 3009 w 3912"/>
                <a:gd name="T119" fmla="*/ 386 h 3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912" h="3530">
                  <a:moveTo>
                    <a:pt x="3009" y="386"/>
                  </a:moveTo>
                  <a:lnTo>
                    <a:pt x="2964" y="353"/>
                  </a:lnTo>
                  <a:lnTo>
                    <a:pt x="2918" y="318"/>
                  </a:lnTo>
                  <a:lnTo>
                    <a:pt x="2869" y="283"/>
                  </a:lnTo>
                  <a:lnTo>
                    <a:pt x="2819" y="247"/>
                  </a:lnTo>
                  <a:lnTo>
                    <a:pt x="2769" y="210"/>
                  </a:lnTo>
                  <a:lnTo>
                    <a:pt x="2718" y="172"/>
                  </a:lnTo>
                  <a:lnTo>
                    <a:pt x="2669" y="133"/>
                  </a:lnTo>
                  <a:lnTo>
                    <a:pt x="2623" y="93"/>
                  </a:lnTo>
                  <a:lnTo>
                    <a:pt x="2595" y="69"/>
                  </a:lnTo>
                  <a:lnTo>
                    <a:pt x="2566" y="46"/>
                  </a:lnTo>
                  <a:lnTo>
                    <a:pt x="2539" y="24"/>
                  </a:lnTo>
                  <a:lnTo>
                    <a:pt x="2512" y="0"/>
                  </a:lnTo>
                  <a:lnTo>
                    <a:pt x="2461" y="7"/>
                  </a:lnTo>
                  <a:lnTo>
                    <a:pt x="2410" y="13"/>
                  </a:lnTo>
                  <a:lnTo>
                    <a:pt x="2360" y="20"/>
                  </a:lnTo>
                  <a:lnTo>
                    <a:pt x="2309" y="27"/>
                  </a:lnTo>
                  <a:lnTo>
                    <a:pt x="2259" y="33"/>
                  </a:lnTo>
                  <a:lnTo>
                    <a:pt x="2209" y="40"/>
                  </a:lnTo>
                  <a:lnTo>
                    <a:pt x="2160" y="46"/>
                  </a:lnTo>
                  <a:lnTo>
                    <a:pt x="2110" y="54"/>
                  </a:lnTo>
                  <a:lnTo>
                    <a:pt x="2062" y="60"/>
                  </a:lnTo>
                  <a:lnTo>
                    <a:pt x="2013" y="67"/>
                  </a:lnTo>
                  <a:lnTo>
                    <a:pt x="1964" y="74"/>
                  </a:lnTo>
                  <a:lnTo>
                    <a:pt x="1916" y="82"/>
                  </a:lnTo>
                  <a:lnTo>
                    <a:pt x="1868" y="89"/>
                  </a:lnTo>
                  <a:lnTo>
                    <a:pt x="1820" y="95"/>
                  </a:lnTo>
                  <a:lnTo>
                    <a:pt x="1774" y="102"/>
                  </a:lnTo>
                  <a:lnTo>
                    <a:pt x="1727" y="109"/>
                  </a:lnTo>
                  <a:lnTo>
                    <a:pt x="1655" y="121"/>
                  </a:lnTo>
                  <a:lnTo>
                    <a:pt x="1583" y="133"/>
                  </a:lnTo>
                  <a:lnTo>
                    <a:pt x="1512" y="145"/>
                  </a:lnTo>
                  <a:lnTo>
                    <a:pt x="1442" y="156"/>
                  </a:lnTo>
                  <a:lnTo>
                    <a:pt x="1372" y="168"/>
                  </a:lnTo>
                  <a:lnTo>
                    <a:pt x="1303" y="180"/>
                  </a:lnTo>
                  <a:lnTo>
                    <a:pt x="1235" y="192"/>
                  </a:lnTo>
                  <a:lnTo>
                    <a:pt x="1166" y="203"/>
                  </a:lnTo>
                  <a:lnTo>
                    <a:pt x="1099" y="216"/>
                  </a:lnTo>
                  <a:lnTo>
                    <a:pt x="1032" y="228"/>
                  </a:lnTo>
                  <a:lnTo>
                    <a:pt x="966" y="240"/>
                  </a:lnTo>
                  <a:lnTo>
                    <a:pt x="900" y="252"/>
                  </a:lnTo>
                  <a:lnTo>
                    <a:pt x="835" y="264"/>
                  </a:lnTo>
                  <a:lnTo>
                    <a:pt x="771" y="277"/>
                  </a:lnTo>
                  <a:lnTo>
                    <a:pt x="707" y="289"/>
                  </a:lnTo>
                  <a:lnTo>
                    <a:pt x="644" y="302"/>
                  </a:lnTo>
                  <a:lnTo>
                    <a:pt x="653" y="343"/>
                  </a:lnTo>
                  <a:lnTo>
                    <a:pt x="662" y="382"/>
                  </a:lnTo>
                  <a:lnTo>
                    <a:pt x="675" y="421"/>
                  </a:lnTo>
                  <a:lnTo>
                    <a:pt x="687" y="458"/>
                  </a:lnTo>
                  <a:lnTo>
                    <a:pt x="701" y="496"/>
                  </a:lnTo>
                  <a:lnTo>
                    <a:pt x="716" y="532"/>
                  </a:lnTo>
                  <a:lnTo>
                    <a:pt x="732" y="568"/>
                  </a:lnTo>
                  <a:lnTo>
                    <a:pt x="749" y="602"/>
                  </a:lnTo>
                  <a:lnTo>
                    <a:pt x="768" y="636"/>
                  </a:lnTo>
                  <a:lnTo>
                    <a:pt x="788" y="669"/>
                  </a:lnTo>
                  <a:lnTo>
                    <a:pt x="808" y="702"/>
                  </a:lnTo>
                  <a:lnTo>
                    <a:pt x="830" y="733"/>
                  </a:lnTo>
                  <a:lnTo>
                    <a:pt x="853" y="765"/>
                  </a:lnTo>
                  <a:lnTo>
                    <a:pt x="878" y="796"/>
                  </a:lnTo>
                  <a:lnTo>
                    <a:pt x="902" y="826"/>
                  </a:lnTo>
                  <a:lnTo>
                    <a:pt x="928" y="856"/>
                  </a:lnTo>
                  <a:lnTo>
                    <a:pt x="955" y="886"/>
                  </a:lnTo>
                  <a:lnTo>
                    <a:pt x="984" y="915"/>
                  </a:lnTo>
                  <a:lnTo>
                    <a:pt x="1013" y="945"/>
                  </a:lnTo>
                  <a:lnTo>
                    <a:pt x="1043" y="973"/>
                  </a:lnTo>
                  <a:lnTo>
                    <a:pt x="1074" y="1002"/>
                  </a:lnTo>
                  <a:lnTo>
                    <a:pt x="1106" y="1030"/>
                  </a:lnTo>
                  <a:lnTo>
                    <a:pt x="1139" y="1059"/>
                  </a:lnTo>
                  <a:lnTo>
                    <a:pt x="1174" y="1086"/>
                  </a:lnTo>
                  <a:lnTo>
                    <a:pt x="1244" y="1142"/>
                  </a:lnTo>
                  <a:lnTo>
                    <a:pt x="1318" y="1199"/>
                  </a:lnTo>
                  <a:lnTo>
                    <a:pt x="1396" y="1256"/>
                  </a:lnTo>
                  <a:lnTo>
                    <a:pt x="1478" y="1314"/>
                  </a:lnTo>
                  <a:lnTo>
                    <a:pt x="1535" y="1350"/>
                  </a:lnTo>
                  <a:lnTo>
                    <a:pt x="1592" y="1386"/>
                  </a:lnTo>
                  <a:lnTo>
                    <a:pt x="1650" y="1422"/>
                  </a:lnTo>
                  <a:lnTo>
                    <a:pt x="1706" y="1458"/>
                  </a:lnTo>
                  <a:lnTo>
                    <a:pt x="1760" y="1493"/>
                  </a:lnTo>
                  <a:lnTo>
                    <a:pt x="1814" y="1528"/>
                  </a:lnTo>
                  <a:lnTo>
                    <a:pt x="1865" y="1562"/>
                  </a:lnTo>
                  <a:lnTo>
                    <a:pt x="1913" y="1597"/>
                  </a:lnTo>
                  <a:lnTo>
                    <a:pt x="1941" y="1618"/>
                  </a:lnTo>
                  <a:lnTo>
                    <a:pt x="1968" y="1641"/>
                  </a:lnTo>
                  <a:lnTo>
                    <a:pt x="1996" y="1664"/>
                  </a:lnTo>
                  <a:lnTo>
                    <a:pt x="2022" y="1688"/>
                  </a:lnTo>
                  <a:lnTo>
                    <a:pt x="2048" y="1713"/>
                  </a:lnTo>
                  <a:lnTo>
                    <a:pt x="2071" y="1739"/>
                  </a:lnTo>
                  <a:lnTo>
                    <a:pt x="2081" y="1751"/>
                  </a:lnTo>
                  <a:lnTo>
                    <a:pt x="2092" y="1765"/>
                  </a:lnTo>
                  <a:lnTo>
                    <a:pt x="2101" y="1778"/>
                  </a:lnTo>
                  <a:lnTo>
                    <a:pt x="2109" y="1793"/>
                  </a:lnTo>
                  <a:lnTo>
                    <a:pt x="2115" y="1809"/>
                  </a:lnTo>
                  <a:lnTo>
                    <a:pt x="2122" y="1825"/>
                  </a:lnTo>
                  <a:lnTo>
                    <a:pt x="2126" y="1841"/>
                  </a:lnTo>
                  <a:lnTo>
                    <a:pt x="2129" y="1857"/>
                  </a:lnTo>
                  <a:lnTo>
                    <a:pt x="2131" y="1871"/>
                  </a:lnTo>
                  <a:lnTo>
                    <a:pt x="2132" y="1886"/>
                  </a:lnTo>
                  <a:lnTo>
                    <a:pt x="2132" y="1899"/>
                  </a:lnTo>
                  <a:lnTo>
                    <a:pt x="2132" y="1913"/>
                  </a:lnTo>
                  <a:lnTo>
                    <a:pt x="2130" y="1935"/>
                  </a:lnTo>
                  <a:lnTo>
                    <a:pt x="2127" y="1955"/>
                  </a:lnTo>
                  <a:lnTo>
                    <a:pt x="2124" y="1970"/>
                  </a:lnTo>
                  <a:lnTo>
                    <a:pt x="2121" y="1981"/>
                  </a:lnTo>
                  <a:lnTo>
                    <a:pt x="2112" y="2008"/>
                  </a:lnTo>
                  <a:lnTo>
                    <a:pt x="2104" y="2033"/>
                  </a:lnTo>
                  <a:lnTo>
                    <a:pt x="2094" y="2058"/>
                  </a:lnTo>
                  <a:lnTo>
                    <a:pt x="2082" y="2082"/>
                  </a:lnTo>
                  <a:lnTo>
                    <a:pt x="2070" y="2104"/>
                  </a:lnTo>
                  <a:lnTo>
                    <a:pt x="2056" y="2124"/>
                  </a:lnTo>
                  <a:lnTo>
                    <a:pt x="2041" y="2144"/>
                  </a:lnTo>
                  <a:lnTo>
                    <a:pt x="2025" y="2162"/>
                  </a:lnTo>
                  <a:lnTo>
                    <a:pt x="2009" y="2180"/>
                  </a:lnTo>
                  <a:lnTo>
                    <a:pt x="1990" y="2197"/>
                  </a:lnTo>
                  <a:lnTo>
                    <a:pt x="1972" y="2212"/>
                  </a:lnTo>
                  <a:lnTo>
                    <a:pt x="1952" y="2225"/>
                  </a:lnTo>
                  <a:lnTo>
                    <a:pt x="1930" y="2239"/>
                  </a:lnTo>
                  <a:lnTo>
                    <a:pt x="1908" y="2251"/>
                  </a:lnTo>
                  <a:lnTo>
                    <a:pt x="1886" y="2263"/>
                  </a:lnTo>
                  <a:lnTo>
                    <a:pt x="1862" y="2273"/>
                  </a:lnTo>
                  <a:lnTo>
                    <a:pt x="1838" y="2282"/>
                  </a:lnTo>
                  <a:lnTo>
                    <a:pt x="1812" y="2292"/>
                  </a:lnTo>
                  <a:lnTo>
                    <a:pt x="1786" y="2300"/>
                  </a:lnTo>
                  <a:lnTo>
                    <a:pt x="1759" y="2307"/>
                  </a:lnTo>
                  <a:lnTo>
                    <a:pt x="1731" y="2313"/>
                  </a:lnTo>
                  <a:lnTo>
                    <a:pt x="1702" y="2318"/>
                  </a:lnTo>
                  <a:lnTo>
                    <a:pt x="1673" y="2324"/>
                  </a:lnTo>
                  <a:lnTo>
                    <a:pt x="1643" y="2329"/>
                  </a:lnTo>
                  <a:lnTo>
                    <a:pt x="1613" y="2332"/>
                  </a:lnTo>
                  <a:lnTo>
                    <a:pt x="1581" y="2335"/>
                  </a:lnTo>
                  <a:lnTo>
                    <a:pt x="1550" y="2338"/>
                  </a:lnTo>
                  <a:lnTo>
                    <a:pt x="1517" y="2340"/>
                  </a:lnTo>
                  <a:lnTo>
                    <a:pt x="1451" y="2343"/>
                  </a:lnTo>
                  <a:lnTo>
                    <a:pt x="1383" y="2344"/>
                  </a:lnTo>
                  <a:lnTo>
                    <a:pt x="1322" y="2344"/>
                  </a:lnTo>
                  <a:lnTo>
                    <a:pt x="1262" y="2343"/>
                  </a:lnTo>
                  <a:lnTo>
                    <a:pt x="1203" y="2342"/>
                  </a:lnTo>
                  <a:lnTo>
                    <a:pt x="1146" y="2340"/>
                  </a:lnTo>
                  <a:lnTo>
                    <a:pt x="1091" y="2337"/>
                  </a:lnTo>
                  <a:lnTo>
                    <a:pt x="1036" y="2334"/>
                  </a:lnTo>
                  <a:lnTo>
                    <a:pt x="984" y="2330"/>
                  </a:lnTo>
                  <a:lnTo>
                    <a:pt x="933" y="2325"/>
                  </a:lnTo>
                  <a:lnTo>
                    <a:pt x="836" y="2314"/>
                  </a:lnTo>
                  <a:lnTo>
                    <a:pt x="747" y="2303"/>
                  </a:lnTo>
                  <a:lnTo>
                    <a:pt x="664" y="2292"/>
                  </a:lnTo>
                  <a:lnTo>
                    <a:pt x="589" y="2278"/>
                  </a:lnTo>
                  <a:lnTo>
                    <a:pt x="522" y="2266"/>
                  </a:lnTo>
                  <a:lnTo>
                    <a:pt x="463" y="2253"/>
                  </a:lnTo>
                  <a:lnTo>
                    <a:pt x="411" y="2241"/>
                  </a:lnTo>
                  <a:lnTo>
                    <a:pt x="368" y="2231"/>
                  </a:lnTo>
                  <a:lnTo>
                    <a:pt x="335" y="2222"/>
                  </a:lnTo>
                  <a:lnTo>
                    <a:pt x="311" y="2215"/>
                  </a:lnTo>
                  <a:lnTo>
                    <a:pt x="296" y="2211"/>
                  </a:lnTo>
                  <a:lnTo>
                    <a:pt x="291" y="2209"/>
                  </a:lnTo>
                  <a:lnTo>
                    <a:pt x="0" y="3408"/>
                  </a:lnTo>
                  <a:lnTo>
                    <a:pt x="8" y="3410"/>
                  </a:lnTo>
                  <a:lnTo>
                    <a:pt x="33" y="3415"/>
                  </a:lnTo>
                  <a:lnTo>
                    <a:pt x="74" y="3422"/>
                  </a:lnTo>
                  <a:lnTo>
                    <a:pt x="131" y="3433"/>
                  </a:lnTo>
                  <a:lnTo>
                    <a:pt x="203" y="3445"/>
                  </a:lnTo>
                  <a:lnTo>
                    <a:pt x="289" y="3458"/>
                  </a:lnTo>
                  <a:lnTo>
                    <a:pt x="388" y="3471"/>
                  </a:lnTo>
                  <a:lnTo>
                    <a:pt x="501" y="3484"/>
                  </a:lnTo>
                  <a:lnTo>
                    <a:pt x="562" y="3491"/>
                  </a:lnTo>
                  <a:lnTo>
                    <a:pt x="626" y="3497"/>
                  </a:lnTo>
                  <a:lnTo>
                    <a:pt x="693" y="3503"/>
                  </a:lnTo>
                  <a:lnTo>
                    <a:pt x="763" y="3508"/>
                  </a:lnTo>
                  <a:lnTo>
                    <a:pt x="836" y="3513"/>
                  </a:lnTo>
                  <a:lnTo>
                    <a:pt x="911" y="3517"/>
                  </a:lnTo>
                  <a:lnTo>
                    <a:pt x="989" y="3522"/>
                  </a:lnTo>
                  <a:lnTo>
                    <a:pt x="1070" y="3525"/>
                  </a:lnTo>
                  <a:lnTo>
                    <a:pt x="1154" y="3528"/>
                  </a:lnTo>
                  <a:lnTo>
                    <a:pt x="1239" y="3529"/>
                  </a:lnTo>
                  <a:lnTo>
                    <a:pt x="1328" y="3530"/>
                  </a:lnTo>
                  <a:lnTo>
                    <a:pt x="1418" y="3529"/>
                  </a:lnTo>
                  <a:lnTo>
                    <a:pt x="1510" y="3528"/>
                  </a:lnTo>
                  <a:lnTo>
                    <a:pt x="1605" y="3526"/>
                  </a:lnTo>
                  <a:lnTo>
                    <a:pt x="1702" y="3522"/>
                  </a:lnTo>
                  <a:lnTo>
                    <a:pt x="1801" y="3517"/>
                  </a:lnTo>
                  <a:lnTo>
                    <a:pt x="1931" y="3507"/>
                  </a:lnTo>
                  <a:lnTo>
                    <a:pt x="2057" y="3493"/>
                  </a:lnTo>
                  <a:lnTo>
                    <a:pt x="2179" y="3474"/>
                  </a:lnTo>
                  <a:lnTo>
                    <a:pt x="2297" y="3450"/>
                  </a:lnTo>
                  <a:lnTo>
                    <a:pt x="2409" y="3422"/>
                  </a:lnTo>
                  <a:lnTo>
                    <a:pt x="2518" y="3389"/>
                  </a:lnTo>
                  <a:lnTo>
                    <a:pt x="2623" y="3353"/>
                  </a:lnTo>
                  <a:lnTo>
                    <a:pt x="2723" y="3314"/>
                  </a:lnTo>
                  <a:lnTo>
                    <a:pt x="2819" y="3271"/>
                  </a:lnTo>
                  <a:lnTo>
                    <a:pt x="2911" y="3223"/>
                  </a:lnTo>
                  <a:lnTo>
                    <a:pt x="2998" y="3173"/>
                  </a:lnTo>
                  <a:lnTo>
                    <a:pt x="3082" y="3119"/>
                  </a:lnTo>
                  <a:lnTo>
                    <a:pt x="3162" y="3062"/>
                  </a:lnTo>
                  <a:lnTo>
                    <a:pt x="3237" y="3003"/>
                  </a:lnTo>
                  <a:lnTo>
                    <a:pt x="3308" y="2941"/>
                  </a:lnTo>
                  <a:lnTo>
                    <a:pt x="3375" y="2876"/>
                  </a:lnTo>
                  <a:lnTo>
                    <a:pt x="3438" y="2809"/>
                  </a:lnTo>
                  <a:lnTo>
                    <a:pt x="3497" y="2740"/>
                  </a:lnTo>
                  <a:lnTo>
                    <a:pt x="3552" y="2669"/>
                  </a:lnTo>
                  <a:lnTo>
                    <a:pt x="3604" y="2596"/>
                  </a:lnTo>
                  <a:lnTo>
                    <a:pt x="3650" y="2521"/>
                  </a:lnTo>
                  <a:lnTo>
                    <a:pt x="3694" y="2445"/>
                  </a:lnTo>
                  <a:lnTo>
                    <a:pt x="3733" y="2367"/>
                  </a:lnTo>
                  <a:lnTo>
                    <a:pt x="3768" y="2288"/>
                  </a:lnTo>
                  <a:lnTo>
                    <a:pt x="3799" y="2209"/>
                  </a:lnTo>
                  <a:lnTo>
                    <a:pt x="3827" y="2128"/>
                  </a:lnTo>
                  <a:lnTo>
                    <a:pt x="3851" y="2047"/>
                  </a:lnTo>
                  <a:lnTo>
                    <a:pt x="3871" y="1965"/>
                  </a:lnTo>
                  <a:lnTo>
                    <a:pt x="3886" y="1883"/>
                  </a:lnTo>
                  <a:lnTo>
                    <a:pt x="3899" y="1800"/>
                  </a:lnTo>
                  <a:lnTo>
                    <a:pt x="3907" y="1717"/>
                  </a:lnTo>
                  <a:lnTo>
                    <a:pt x="3912" y="1635"/>
                  </a:lnTo>
                  <a:lnTo>
                    <a:pt x="3912" y="1583"/>
                  </a:lnTo>
                  <a:lnTo>
                    <a:pt x="3910" y="1533"/>
                  </a:lnTo>
                  <a:lnTo>
                    <a:pt x="3905" y="1483"/>
                  </a:lnTo>
                  <a:lnTo>
                    <a:pt x="3898" y="1434"/>
                  </a:lnTo>
                  <a:lnTo>
                    <a:pt x="3887" y="1387"/>
                  </a:lnTo>
                  <a:lnTo>
                    <a:pt x="3875" y="1340"/>
                  </a:lnTo>
                  <a:lnTo>
                    <a:pt x="3860" y="1295"/>
                  </a:lnTo>
                  <a:lnTo>
                    <a:pt x="3844" y="1251"/>
                  </a:lnTo>
                  <a:lnTo>
                    <a:pt x="3825" y="1206"/>
                  </a:lnTo>
                  <a:lnTo>
                    <a:pt x="3805" y="1164"/>
                  </a:lnTo>
                  <a:lnTo>
                    <a:pt x="3782" y="1122"/>
                  </a:lnTo>
                  <a:lnTo>
                    <a:pt x="3757" y="1080"/>
                  </a:lnTo>
                  <a:lnTo>
                    <a:pt x="3730" y="1040"/>
                  </a:lnTo>
                  <a:lnTo>
                    <a:pt x="3702" y="1000"/>
                  </a:lnTo>
                  <a:lnTo>
                    <a:pt x="3672" y="961"/>
                  </a:lnTo>
                  <a:lnTo>
                    <a:pt x="3641" y="922"/>
                  </a:lnTo>
                  <a:lnTo>
                    <a:pt x="3608" y="885"/>
                  </a:lnTo>
                  <a:lnTo>
                    <a:pt x="3575" y="848"/>
                  </a:lnTo>
                  <a:lnTo>
                    <a:pt x="3539" y="812"/>
                  </a:lnTo>
                  <a:lnTo>
                    <a:pt x="3502" y="776"/>
                  </a:lnTo>
                  <a:lnTo>
                    <a:pt x="3465" y="740"/>
                  </a:lnTo>
                  <a:lnTo>
                    <a:pt x="3427" y="706"/>
                  </a:lnTo>
                  <a:lnTo>
                    <a:pt x="3387" y="672"/>
                  </a:lnTo>
                  <a:lnTo>
                    <a:pt x="3347" y="639"/>
                  </a:lnTo>
                  <a:lnTo>
                    <a:pt x="3307" y="606"/>
                  </a:lnTo>
                  <a:lnTo>
                    <a:pt x="3265" y="573"/>
                  </a:lnTo>
                  <a:lnTo>
                    <a:pt x="3223" y="541"/>
                  </a:lnTo>
                  <a:lnTo>
                    <a:pt x="3180" y="509"/>
                  </a:lnTo>
                  <a:lnTo>
                    <a:pt x="3096" y="447"/>
                  </a:lnTo>
                  <a:lnTo>
                    <a:pt x="3009" y="386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E5F7165E-4763-4A78-8A1F-DE3B921571BA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01808" y="6094540"/>
              <a:ext cx="195150" cy="285091"/>
            </a:xfrm>
            <a:custGeom>
              <a:avLst/>
              <a:gdLst>
                <a:gd name="T0" fmla="*/ 2165 w 2638"/>
                <a:gd name="T1" fmla="*/ 2636 h 3868"/>
                <a:gd name="T2" fmla="*/ 2059 w 2638"/>
                <a:gd name="T3" fmla="*/ 2630 h 3868"/>
                <a:gd name="T4" fmla="*/ 1961 w 2638"/>
                <a:gd name="T5" fmla="*/ 2615 h 3868"/>
                <a:gd name="T6" fmla="*/ 1880 w 2638"/>
                <a:gd name="T7" fmla="*/ 2590 h 3868"/>
                <a:gd name="T8" fmla="*/ 1835 w 2638"/>
                <a:gd name="T9" fmla="*/ 2569 h 3868"/>
                <a:gd name="T10" fmla="*/ 1808 w 2638"/>
                <a:gd name="T11" fmla="*/ 2549 h 3868"/>
                <a:gd name="T12" fmla="*/ 1786 w 2638"/>
                <a:gd name="T13" fmla="*/ 2526 h 3868"/>
                <a:gd name="T14" fmla="*/ 1762 w 2638"/>
                <a:gd name="T15" fmla="*/ 2490 h 3868"/>
                <a:gd name="T16" fmla="*/ 1744 w 2638"/>
                <a:gd name="T17" fmla="*/ 2451 h 3868"/>
                <a:gd name="T18" fmla="*/ 1732 w 2638"/>
                <a:gd name="T19" fmla="*/ 2407 h 3868"/>
                <a:gd name="T20" fmla="*/ 1724 w 2638"/>
                <a:gd name="T21" fmla="*/ 2362 h 3868"/>
                <a:gd name="T22" fmla="*/ 1721 w 2638"/>
                <a:gd name="T23" fmla="*/ 2267 h 3868"/>
                <a:gd name="T24" fmla="*/ 1730 w 2638"/>
                <a:gd name="T25" fmla="*/ 2172 h 3868"/>
                <a:gd name="T26" fmla="*/ 2204 w 2638"/>
                <a:gd name="T27" fmla="*/ 0 h 3868"/>
                <a:gd name="T28" fmla="*/ 1895 w 2638"/>
                <a:gd name="T29" fmla="*/ 17 h 3868"/>
                <a:gd name="T30" fmla="*/ 1582 w 2638"/>
                <a:gd name="T31" fmla="*/ 33 h 3868"/>
                <a:gd name="T32" fmla="*/ 1267 w 2638"/>
                <a:gd name="T33" fmla="*/ 52 h 3868"/>
                <a:gd name="T34" fmla="*/ 950 w 2638"/>
                <a:gd name="T35" fmla="*/ 71 h 3868"/>
                <a:gd name="T36" fmla="*/ 633 w 2638"/>
                <a:gd name="T37" fmla="*/ 93 h 3868"/>
                <a:gd name="T38" fmla="*/ 474 w 2638"/>
                <a:gd name="T39" fmla="*/ 336 h 3868"/>
                <a:gd name="T40" fmla="*/ 391 w 2638"/>
                <a:gd name="T41" fmla="*/ 698 h 3868"/>
                <a:gd name="T42" fmla="*/ 306 w 2638"/>
                <a:gd name="T43" fmla="*/ 1068 h 3868"/>
                <a:gd name="T44" fmla="*/ 219 w 2638"/>
                <a:gd name="T45" fmla="*/ 1444 h 3868"/>
                <a:gd name="T46" fmla="*/ 132 w 2638"/>
                <a:gd name="T47" fmla="*/ 1823 h 3868"/>
                <a:gd name="T48" fmla="*/ 64 w 2638"/>
                <a:gd name="T49" fmla="*/ 2120 h 3868"/>
                <a:gd name="T50" fmla="*/ 38 w 2638"/>
                <a:gd name="T51" fmla="*/ 2255 h 3868"/>
                <a:gd name="T52" fmla="*/ 18 w 2638"/>
                <a:gd name="T53" fmla="*/ 2389 h 3868"/>
                <a:gd name="T54" fmla="*/ 5 w 2638"/>
                <a:gd name="T55" fmla="*/ 2524 h 3868"/>
                <a:gd name="T56" fmla="*/ 0 w 2638"/>
                <a:gd name="T57" fmla="*/ 2659 h 3868"/>
                <a:gd name="T58" fmla="*/ 5 w 2638"/>
                <a:gd name="T59" fmla="*/ 2793 h 3868"/>
                <a:gd name="T60" fmla="*/ 21 w 2638"/>
                <a:gd name="T61" fmla="*/ 2924 h 3868"/>
                <a:gd name="T62" fmla="*/ 48 w 2638"/>
                <a:gd name="T63" fmla="*/ 3052 h 3868"/>
                <a:gd name="T64" fmla="*/ 87 w 2638"/>
                <a:gd name="T65" fmla="*/ 3176 h 3868"/>
                <a:gd name="T66" fmla="*/ 141 w 2638"/>
                <a:gd name="T67" fmla="*/ 3295 h 3868"/>
                <a:gd name="T68" fmla="*/ 210 w 2638"/>
                <a:gd name="T69" fmla="*/ 3407 h 3868"/>
                <a:gd name="T70" fmla="*/ 274 w 2638"/>
                <a:gd name="T71" fmla="*/ 3488 h 3868"/>
                <a:gd name="T72" fmla="*/ 336 w 2638"/>
                <a:gd name="T73" fmla="*/ 3552 h 3868"/>
                <a:gd name="T74" fmla="*/ 406 w 2638"/>
                <a:gd name="T75" fmla="*/ 3612 h 3868"/>
                <a:gd name="T76" fmla="*/ 483 w 2638"/>
                <a:gd name="T77" fmla="*/ 3667 h 3868"/>
                <a:gd name="T78" fmla="*/ 568 w 2638"/>
                <a:gd name="T79" fmla="*/ 3717 h 3868"/>
                <a:gd name="T80" fmla="*/ 662 w 2638"/>
                <a:gd name="T81" fmla="*/ 3760 h 3868"/>
                <a:gd name="T82" fmla="*/ 766 w 2638"/>
                <a:gd name="T83" fmla="*/ 3798 h 3868"/>
                <a:gd name="T84" fmla="*/ 879 w 2638"/>
                <a:gd name="T85" fmla="*/ 3827 h 3868"/>
                <a:gd name="T86" fmla="*/ 1001 w 2638"/>
                <a:gd name="T87" fmla="*/ 3849 h 3868"/>
                <a:gd name="T88" fmla="*/ 1134 w 2638"/>
                <a:gd name="T89" fmla="*/ 3863 h 3868"/>
                <a:gd name="T90" fmla="*/ 1278 w 2638"/>
                <a:gd name="T91" fmla="*/ 3868 h 3868"/>
                <a:gd name="T92" fmla="*/ 1475 w 2638"/>
                <a:gd name="T93" fmla="*/ 3865 h 3868"/>
                <a:gd name="T94" fmla="*/ 1684 w 2638"/>
                <a:gd name="T95" fmla="*/ 3854 h 3868"/>
                <a:gd name="T96" fmla="*/ 1899 w 2638"/>
                <a:gd name="T97" fmla="*/ 3834 h 3868"/>
                <a:gd name="T98" fmla="*/ 2118 w 2638"/>
                <a:gd name="T99" fmla="*/ 3802 h 3868"/>
                <a:gd name="T100" fmla="*/ 2336 w 2638"/>
                <a:gd name="T101" fmla="*/ 3754 h 3868"/>
                <a:gd name="T102" fmla="*/ 2592 w 2638"/>
                <a:gd name="T103" fmla="*/ 2620 h 3868"/>
                <a:gd name="T104" fmla="*/ 2448 w 2638"/>
                <a:gd name="T105" fmla="*/ 2631 h 3868"/>
                <a:gd name="T106" fmla="*/ 2294 w 2638"/>
                <a:gd name="T107" fmla="*/ 2637 h 38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38" h="3868">
                  <a:moveTo>
                    <a:pt x="2241" y="2637"/>
                  </a:moveTo>
                  <a:lnTo>
                    <a:pt x="2202" y="2637"/>
                  </a:lnTo>
                  <a:lnTo>
                    <a:pt x="2165" y="2636"/>
                  </a:lnTo>
                  <a:lnTo>
                    <a:pt x="2129" y="2635"/>
                  </a:lnTo>
                  <a:lnTo>
                    <a:pt x="2093" y="2633"/>
                  </a:lnTo>
                  <a:lnTo>
                    <a:pt x="2059" y="2630"/>
                  </a:lnTo>
                  <a:lnTo>
                    <a:pt x="2024" y="2625"/>
                  </a:lnTo>
                  <a:lnTo>
                    <a:pt x="1992" y="2620"/>
                  </a:lnTo>
                  <a:lnTo>
                    <a:pt x="1961" y="2615"/>
                  </a:lnTo>
                  <a:lnTo>
                    <a:pt x="1932" y="2608"/>
                  </a:lnTo>
                  <a:lnTo>
                    <a:pt x="1905" y="2600"/>
                  </a:lnTo>
                  <a:lnTo>
                    <a:pt x="1880" y="2590"/>
                  </a:lnTo>
                  <a:lnTo>
                    <a:pt x="1856" y="2580"/>
                  </a:lnTo>
                  <a:lnTo>
                    <a:pt x="1845" y="2575"/>
                  </a:lnTo>
                  <a:lnTo>
                    <a:pt x="1835" y="2569"/>
                  </a:lnTo>
                  <a:lnTo>
                    <a:pt x="1826" y="2562"/>
                  </a:lnTo>
                  <a:lnTo>
                    <a:pt x="1816" y="2556"/>
                  </a:lnTo>
                  <a:lnTo>
                    <a:pt x="1808" y="2549"/>
                  </a:lnTo>
                  <a:lnTo>
                    <a:pt x="1800" y="2542"/>
                  </a:lnTo>
                  <a:lnTo>
                    <a:pt x="1794" y="2533"/>
                  </a:lnTo>
                  <a:lnTo>
                    <a:pt x="1786" y="2526"/>
                  </a:lnTo>
                  <a:lnTo>
                    <a:pt x="1778" y="2515"/>
                  </a:lnTo>
                  <a:lnTo>
                    <a:pt x="1770" y="2502"/>
                  </a:lnTo>
                  <a:lnTo>
                    <a:pt x="1762" y="2490"/>
                  </a:lnTo>
                  <a:lnTo>
                    <a:pt x="1755" y="2478"/>
                  </a:lnTo>
                  <a:lnTo>
                    <a:pt x="1749" y="2464"/>
                  </a:lnTo>
                  <a:lnTo>
                    <a:pt x="1744" y="2451"/>
                  </a:lnTo>
                  <a:lnTo>
                    <a:pt x="1739" y="2437"/>
                  </a:lnTo>
                  <a:lnTo>
                    <a:pt x="1735" y="2423"/>
                  </a:lnTo>
                  <a:lnTo>
                    <a:pt x="1732" y="2407"/>
                  </a:lnTo>
                  <a:lnTo>
                    <a:pt x="1728" y="2393"/>
                  </a:lnTo>
                  <a:lnTo>
                    <a:pt x="1725" y="2378"/>
                  </a:lnTo>
                  <a:lnTo>
                    <a:pt x="1724" y="2362"/>
                  </a:lnTo>
                  <a:lnTo>
                    <a:pt x="1721" y="2331"/>
                  </a:lnTo>
                  <a:lnTo>
                    <a:pt x="1720" y="2299"/>
                  </a:lnTo>
                  <a:lnTo>
                    <a:pt x="1721" y="2267"/>
                  </a:lnTo>
                  <a:lnTo>
                    <a:pt x="1723" y="2235"/>
                  </a:lnTo>
                  <a:lnTo>
                    <a:pt x="1726" y="2203"/>
                  </a:lnTo>
                  <a:lnTo>
                    <a:pt x="1730" y="2172"/>
                  </a:lnTo>
                  <a:lnTo>
                    <a:pt x="1740" y="2112"/>
                  </a:lnTo>
                  <a:lnTo>
                    <a:pt x="1749" y="2057"/>
                  </a:lnTo>
                  <a:lnTo>
                    <a:pt x="2204" y="0"/>
                  </a:lnTo>
                  <a:lnTo>
                    <a:pt x="2102" y="5"/>
                  </a:lnTo>
                  <a:lnTo>
                    <a:pt x="1999" y="11"/>
                  </a:lnTo>
                  <a:lnTo>
                    <a:pt x="1895" y="17"/>
                  </a:lnTo>
                  <a:lnTo>
                    <a:pt x="1790" y="22"/>
                  </a:lnTo>
                  <a:lnTo>
                    <a:pt x="1687" y="28"/>
                  </a:lnTo>
                  <a:lnTo>
                    <a:pt x="1582" y="33"/>
                  </a:lnTo>
                  <a:lnTo>
                    <a:pt x="1477" y="39"/>
                  </a:lnTo>
                  <a:lnTo>
                    <a:pt x="1372" y="46"/>
                  </a:lnTo>
                  <a:lnTo>
                    <a:pt x="1267" y="52"/>
                  </a:lnTo>
                  <a:lnTo>
                    <a:pt x="1161" y="59"/>
                  </a:lnTo>
                  <a:lnTo>
                    <a:pt x="1056" y="65"/>
                  </a:lnTo>
                  <a:lnTo>
                    <a:pt x="950" y="71"/>
                  </a:lnTo>
                  <a:lnTo>
                    <a:pt x="845" y="79"/>
                  </a:lnTo>
                  <a:lnTo>
                    <a:pt x="739" y="86"/>
                  </a:lnTo>
                  <a:lnTo>
                    <a:pt x="633" y="93"/>
                  </a:lnTo>
                  <a:lnTo>
                    <a:pt x="528" y="100"/>
                  </a:lnTo>
                  <a:lnTo>
                    <a:pt x="501" y="218"/>
                  </a:lnTo>
                  <a:lnTo>
                    <a:pt x="474" y="336"/>
                  </a:lnTo>
                  <a:lnTo>
                    <a:pt x="446" y="456"/>
                  </a:lnTo>
                  <a:lnTo>
                    <a:pt x="419" y="576"/>
                  </a:lnTo>
                  <a:lnTo>
                    <a:pt x="391" y="698"/>
                  </a:lnTo>
                  <a:lnTo>
                    <a:pt x="362" y="820"/>
                  </a:lnTo>
                  <a:lnTo>
                    <a:pt x="334" y="944"/>
                  </a:lnTo>
                  <a:lnTo>
                    <a:pt x="306" y="1068"/>
                  </a:lnTo>
                  <a:lnTo>
                    <a:pt x="277" y="1193"/>
                  </a:lnTo>
                  <a:lnTo>
                    <a:pt x="248" y="1318"/>
                  </a:lnTo>
                  <a:lnTo>
                    <a:pt x="219" y="1444"/>
                  </a:lnTo>
                  <a:lnTo>
                    <a:pt x="190" y="1570"/>
                  </a:lnTo>
                  <a:lnTo>
                    <a:pt x="161" y="1696"/>
                  </a:lnTo>
                  <a:lnTo>
                    <a:pt x="132" y="1823"/>
                  </a:lnTo>
                  <a:lnTo>
                    <a:pt x="103" y="1950"/>
                  </a:lnTo>
                  <a:lnTo>
                    <a:pt x="73" y="2077"/>
                  </a:lnTo>
                  <a:lnTo>
                    <a:pt x="64" y="2120"/>
                  </a:lnTo>
                  <a:lnTo>
                    <a:pt x="55" y="2165"/>
                  </a:lnTo>
                  <a:lnTo>
                    <a:pt x="47" y="2209"/>
                  </a:lnTo>
                  <a:lnTo>
                    <a:pt x="38" y="2255"/>
                  </a:lnTo>
                  <a:lnTo>
                    <a:pt x="31" y="2299"/>
                  </a:lnTo>
                  <a:lnTo>
                    <a:pt x="24" y="2344"/>
                  </a:lnTo>
                  <a:lnTo>
                    <a:pt x="18" y="2389"/>
                  </a:lnTo>
                  <a:lnTo>
                    <a:pt x="12" y="2434"/>
                  </a:lnTo>
                  <a:lnTo>
                    <a:pt x="8" y="2480"/>
                  </a:lnTo>
                  <a:lnTo>
                    <a:pt x="5" y="2524"/>
                  </a:lnTo>
                  <a:lnTo>
                    <a:pt x="2" y="2570"/>
                  </a:lnTo>
                  <a:lnTo>
                    <a:pt x="1" y="2614"/>
                  </a:lnTo>
                  <a:lnTo>
                    <a:pt x="0" y="2659"/>
                  </a:lnTo>
                  <a:lnTo>
                    <a:pt x="1" y="2704"/>
                  </a:lnTo>
                  <a:lnTo>
                    <a:pt x="2" y="2748"/>
                  </a:lnTo>
                  <a:lnTo>
                    <a:pt x="5" y="2793"/>
                  </a:lnTo>
                  <a:lnTo>
                    <a:pt x="9" y="2837"/>
                  </a:lnTo>
                  <a:lnTo>
                    <a:pt x="13" y="2880"/>
                  </a:lnTo>
                  <a:lnTo>
                    <a:pt x="21" y="2924"/>
                  </a:lnTo>
                  <a:lnTo>
                    <a:pt x="28" y="2967"/>
                  </a:lnTo>
                  <a:lnTo>
                    <a:pt x="37" y="3010"/>
                  </a:lnTo>
                  <a:lnTo>
                    <a:pt x="48" y="3052"/>
                  </a:lnTo>
                  <a:lnTo>
                    <a:pt x="59" y="3093"/>
                  </a:lnTo>
                  <a:lnTo>
                    <a:pt x="72" y="3135"/>
                  </a:lnTo>
                  <a:lnTo>
                    <a:pt x="87" y="3176"/>
                  </a:lnTo>
                  <a:lnTo>
                    <a:pt x="103" y="3216"/>
                  </a:lnTo>
                  <a:lnTo>
                    <a:pt x="121" y="3255"/>
                  </a:lnTo>
                  <a:lnTo>
                    <a:pt x="141" y="3295"/>
                  </a:lnTo>
                  <a:lnTo>
                    <a:pt x="162" y="3333"/>
                  </a:lnTo>
                  <a:lnTo>
                    <a:pt x="185" y="3370"/>
                  </a:lnTo>
                  <a:lnTo>
                    <a:pt x="210" y="3407"/>
                  </a:lnTo>
                  <a:lnTo>
                    <a:pt x="236" y="3443"/>
                  </a:lnTo>
                  <a:lnTo>
                    <a:pt x="255" y="3466"/>
                  </a:lnTo>
                  <a:lnTo>
                    <a:pt x="274" y="3488"/>
                  </a:lnTo>
                  <a:lnTo>
                    <a:pt x="294" y="3509"/>
                  </a:lnTo>
                  <a:lnTo>
                    <a:pt x="315" y="3531"/>
                  </a:lnTo>
                  <a:lnTo>
                    <a:pt x="336" y="3552"/>
                  </a:lnTo>
                  <a:lnTo>
                    <a:pt x="358" y="3572"/>
                  </a:lnTo>
                  <a:lnTo>
                    <a:pt x="382" y="3593"/>
                  </a:lnTo>
                  <a:lnTo>
                    <a:pt x="406" y="3612"/>
                  </a:lnTo>
                  <a:lnTo>
                    <a:pt x="431" y="3631"/>
                  </a:lnTo>
                  <a:lnTo>
                    <a:pt x="456" y="3650"/>
                  </a:lnTo>
                  <a:lnTo>
                    <a:pt x="483" y="3667"/>
                  </a:lnTo>
                  <a:lnTo>
                    <a:pt x="510" y="3684"/>
                  </a:lnTo>
                  <a:lnTo>
                    <a:pt x="539" y="3700"/>
                  </a:lnTo>
                  <a:lnTo>
                    <a:pt x="568" y="3717"/>
                  </a:lnTo>
                  <a:lnTo>
                    <a:pt x="598" y="3732"/>
                  </a:lnTo>
                  <a:lnTo>
                    <a:pt x="630" y="3747"/>
                  </a:lnTo>
                  <a:lnTo>
                    <a:pt x="662" y="3760"/>
                  </a:lnTo>
                  <a:lnTo>
                    <a:pt x="695" y="3774"/>
                  </a:lnTo>
                  <a:lnTo>
                    <a:pt x="730" y="3786"/>
                  </a:lnTo>
                  <a:lnTo>
                    <a:pt x="766" y="3798"/>
                  </a:lnTo>
                  <a:lnTo>
                    <a:pt x="802" y="3808"/>
                  </a:lnTo>
                  <a:lnTo>
                    <a:pt x="839" y="3818"/>
                  </a:lnTo>
                  <a:lnTo>
                    <a:pt x="879" y="3827"/>
                  </a:lnTo>
                  <a:lnTo>
                    <a:pt x="918" y="3836"/>
                  </a:lnTo>
                  <a:lnTo>
                    <a:pt x="958" y="3843"/>
                  </a:lnTo>
                  <a:lnTo>
                    <a:pt x="1001" y="3849"/>
                  </a:lnTo>
                  <a:lnTo>
                    <a:pt x="1044" y="3854"/>
                  </a:lnTo>
                  <a:lnTo>
                    <a:pt x="1089" y="3860"/>
                  </a:lnTo>
                  <a:lnTo>
                    <a:pt x="1134" y="3863"/>
                  </a:lnTo>
                  <a:lnTo>
                    <a:pt x="1181" y="3866"/>
                  </a:lnTo>
                  <a:lnTo>
                    <a:pt x="1228" y="3867"/>
                  </a:lnTo>
                  <a:lnTo>
                    <a:pt x="1278" y="3868"/>
                  </a:lnTo>
                  <a:lnTo>
                    <a:pt x="1342" y="3867"/>
                  </a:lnTo>
                  <a:lnTo>
                    <a:pt x="1408" y="3866"/>
                  </a:lnTo>
                  <a:lnTo>
                    <a:pt x="1475" y="3865"/>
                  </a:lnTo>
                  <a:lnTo>
                    <a:pt x="1543" y="3862"/>
                  </a:lnTo>
                  <a:lnTo>
                    <a:pt x="1612" y="3858"/>
                  </a:lnTo>
                  <a:lnTo>
                    <a:pt x="1684" y="3854"/>
                  </a:lnTo>
                  <a:lnTo>
                    <a:pt x="1754" y="3848"/>
                  </a:lnTo>
                  <a:lnTo>
                    <a:pt x="1827" y="3842"/>
                  </a:lnTo>
                  <a:lnTo>
                    <a:pt x="1899" y="3834"/>
                  </a:lnTo>
                  <a:lnTo>
                    <a:pt x="1972" y="3824"/>
                  </a:lnTo>
                  <a:lnTo>
                    <a:pt x="2045" y="3814"/>
                  </a:lnTo>
                  <a:lnTo>
                    <a:pt x="2118" y="3802"/>
                  </a:lnTo>
                  <a:lnTo>
                    <a:pt x="2191" y="3787"/>
                  </a:lnTo>
                  <a:lnTo>
                    <a:pt x="2263" y="3772"/>
                  </a:lnTo>
                  <a:lnTo>
                    <a:pt x="2336" y="3754"/>
                  </a:lnTo>
                  <a:lnTo>
                    <a:pt x="2407" y="3736"/>
                  </a:lnTo>
                  <a:lnTo>
                    <a:pt x="2638" y="2615"/>
                  </a:lnTo>
                  <a:lnTo>
                    <a:pt x="2592" y="2620"/>
                  </a:lnTo>
                  <a:lnTo>
                    <a:pt x="2545" y="2623"/>
                  </a:lnTo>
                  <a:lnTo>
                    <a:pt x="2496" y="2627"/>
                  </a:lnTo>
                  <a:lnTo>
                    <a:pt x="2448" y="2631"/>
                  </a:lnTo>
                  <a:lnTo>
                    <a:pt x="2398" y="2634"/>
                  </a:lnTo>
                  <a:lnTo>
                    <a:pt x="2346" y="2636"/>
                  </a:lnTo>
                  <a:lnTo>
                    <a:pt x="2294" y="2637"/>
                  </a:lnTo>
                  <a:lnTo>
                    <a:pt x="2241" y="2637"/>
                  </a:ln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3169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ED4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0853"/>
            <a:ext cx="12192000" cy="1509795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1198033" y="3242174"/>
            <a:ext cx="10077451" cy="1050925"/>
          </a:xfrm>
        </p:spPr>
        <p:txBody>
          <a:bodyPr anchor="b"/>
          <a:lstStyle>
            <a:lvl1pPr>
              <a:defRPr sz="2250" b="1" baseline="0">
                <a:solidFill>
                  <a:srgbClr val="0A2864"/>
                </a:solidFill>
              </a:defRPr>
            </a:lvl1pPr>
          </a:lstStyle>
          <a:p>
            <a:r>
              <a:rPr lang="en-US"/>
              <a:t>Titelmasterformat durch Klicken bearbeiten</a:t>
            </a:r>
            <a:endParaRPr lang="en-US" dirty="0"/>
          </a:p>
        </p:txBody>
      </p:sp>
      <p:grpSp>
        <p:nvGrpSpPr>
          <p:cNvPr id="14" name="Gruppieren 13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15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27834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 bwMode="auto">
          <a:xfrm>
            <a:off x="0" y="2"/>
            <a:ext cx="12192000" cy="184666"/>
          </a:xfrm>
          <a:prstGeom prst="rect">
            <a:avLst/>
          </a:prstGeom>
          <a:gradFill flip="none" rotWithShape="1">
            <a:gsLst>
              <a:gs pos="5300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9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200153" y="5"/>
            <a:ext cx="10583863" cy="1052513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de-DE"/>
              <a:t>Titelmasterformat durch Klicken bearbeiten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 hasCustomPrompt="1"/>
          </p:nvPr>
        </p:nvSpPr>
        <p:spPr>
          <a:xfrm>
            <a:off x="1200153" y="1420815"/>
            <a:ext cx="10583863" cy="4637086"/>
          </a:xfrm>
        </p:spPr>
        <p:txBody>
          <a:bodyPr/>
          <a:lstStyle/>
          <a:p>
            <a:pPr lvl="0"/>
            <a:r>
              <a:rPr lang="en-US" altLang="de-DE" noProof="0"/>
              <a:t>Textmasterformate durch Klicken bearbeiten</a:t>
            </a:r>
          </a:p>
          <a:p>
            <a:pPr lvl="1"/>
            <a:r>
              <a:rPr lang="en-US" altLang="de-DE" noProof="0"/>
              <a:t>Zweite Ebene</a:t>
            </a:r>
          </a:p>
          <a:p>
            <a:pPr lvl="2"/>
            <a:r>
              <a:rPr lang="en-US" altLang="de-DE" noProof="0"/>
              <a:t>Dritte Ebene</a:t>
            </a:r>
          </a:p>
          <a:p>
            <a:pPr lvl="3"/>
            <a:r>
              <a:rPr lang="en-US" altLang="de-DE" noProof="0"/>
              <a:t>Vierte Ebene</a:t>
            </a:r>
          </a:p>
          <a:p>
            <a:pPr lvl="4"/>
            <a:r>
              <a:rPr lang="en-US" altLang="de-DE" noProof="0"/>
              <a:t>Fünfte Ebene</a:t>
            </a:r>
          </a:p>
          <a:p>
            <a:pPr lvl="5"/>
            <a:r>
              <a:rPr lang="en-US" altLang="de-DE" noProof="0"/>
              <a:t>Sechste Ebene</a:t>
            </a:r>
          </a:p>
          <a:p>
            <a:pPr lvl="6"/>
            <a:r>
              <a:rPr lang="en-US" altLang="de-DE" noProof="0"/>
              <a:t>Siebte Ebene</a:t>
            </a:r>
            <a:endParaRPr lang="en-US" altLang="de-DE" noProof="0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  <p:grpSp>
        <p:nvGrpSpPr>
          <p:cNvPr id="18" name="Gruppieren 17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19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90549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/>
          <p:cNvSpPr/>
          <p:nvPr userDrawn="1"/>
        </p:nvSpPr>
        <p:spPr bwMode="auto">
          <a:xfrm>
            <a:off x="0" y="2"/>
            <a:ext cx="12192000" cy="184666"/>
          </a:xfrm>
          <a:prstGeom prst="rect">
            <a:avLst/>
          </a:prstGeom>
          <a:gradFill flip="none" rotWithShape="1">
            <a:gsLst>
              <a:gs pos="5300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9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genda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200154" y="1412877"/>
            <a:ext cx="10079567" cy="4652963"/>
          </a:xfrm>
        </p:spPr>
        <p:txBody>
          <a:bodyPr/>
          <a:lstStyle>
            <a:lvl1pPr marL="140396" indent="-140396">
              <a:buClr>
                <a:schemeClr val="bg2"/>
              </a:buClr>
              <a:buFont typeface="Wingdings" panose="05000000000000000000" pitchFamily="2" charset="2"/>
              <a:buChar char="§"/>
              <a:defRPr sz="1350" b="1">
                <a:solidFill>
                  <a:schemeClr val="bg2"/>
                </a:solidFill>
              </a:defRPr>
            </a:lvl1pPr>
            <a:lvl2pPr>
              <a:buClr>
                <a:schemeClr val="tx2"/>
              </a:buClr>
              <a:defRPr sz="1350" b="1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Textmasterformat durch Klicken bearbeiten</a:t>
            </a:r>
          </a:p>
          <a:p>
            <a:pPr lvl="1"/>
            <a:r>
              <a:rPr lang="en-US"/>
              <a:t>Zweite Ebene</a:t>
            </a:r>
            <a:endParaRPr lang="en-US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4" y="4375142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6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Inside Talk</a:t>
            </a:r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0821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Titelmasterformat durch Klicken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1200154" y="1420818"/>
            <a:ext cx="4982633" cy="466883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altLang="de-DE" noProof="0"/>
              <a:t>Textmasterformate durch Klicken bearbeiten</a:t>
            </a:r>
          </a:p>
          <a:p>
            <a:pPr lvl="1"/>
            <a:r>
              <a:rPr lang="en-US" altLang="de-DE" noProof="0"/>
              <a:t>Zweite Ebene</a:t>
            </a:r>
          </a:p>
          <a:p>
            <a:pPr lvl="2"/>
            <a:r>
              <a:rPr lang="en-US" altLang="de-DE" noProof="0"/>
              <a:t>Dritte Ebene</a:t>
            </a:r>
          </a:p>
          <a:p>
            <a:pPr lvl="3"/>
            <a:r>
              <a:rPr lang="en-US" altLang="de-DE" noProof="0"/>
              <a:t>Vierte Ebene</a:t>
            </a:r>
          </a:p>
          <a:p>
            <a:pPr lvl="4"/>
            <a:r>
              <a:rPr lang="en-US" altLang="de-DE" noProof="0"/>
              <a:t>Fünfte Ebene</a:t>
            </a:r>
          </a:p>
          <a:p>
            <a:pPr lvl="5"/>
            <a:r>
              <a:rPr lang="en-US" altLang="de-DE" noProof="0"/>
              <a:t>Sechste Ebene</a:t>
            </a:r>
          </a:p>
          <a:p>
            <a:pPr lvl="6"/>
            <a:r>
              <a:rPr lang="en-US" altLang="de-DE" noProof="0"/>
              <a:t>Siebte Ebene</a:t>
            </a:r>
            <a:endParaRPr lang="en-US" altLang="de-DE" noProof="0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6345770" y="1420818"/>
            <a:ext cx="4933951" cy="4668837"/>
          </a:xfrm>
        </p:spPr>
        <p:txBody>
          <a:bodyPr/>
          <a:lstStyle/>
          <a:p>
            <a:pPr lvl="0"/>
            <a:r>
              <a:rPr lang="en-US" altLang="de-DE" noProof="0"/>
              <a:t>Textmasterformate durch Klicken bearbeiten</a:t>
            </a:r>
          </a:p>
          <a:p>
            <a:pPr lvl="1"/>
            <a:r>
              <a:rPr lang="en-US" altLang="de-DE" noProof="0"/>
              <a:t>Zweite Ebene</a:t>
            </a:r>
          </a:p>
          <a:p>
            <a:pPr lvl="2"/>
            <a:r>
              <a:rPr lang="en-US" altLang="de-DE" noProof="0"/>
              <a:t>Dritte Ebene</a:t>
            </a:r>
          </a:p>
          <a:p>
            <a:pPr lvl="3"/>
            <a:r>
              <a:rPr lang="en-US" altLang="de-DE" noProof="0"/>
              <a:t>Vierte Ebene</a:t>
            </a:r>
          </a:p>
          <a:p>
            <a:pPr lvl="4"/>
            <a:r>
              <a:rPr lang="en-US" altLang="de-DE" noProof="0"/>
              <a:t>Fünfte Ebene</a:t>
            </a:r>
          </a:p>
          <a:p>
            <a:pPr lvl="5"/>
            <a:r>
              <a:rPr lang="en-US" altLang="de-DE" noProof="0"/>
              <a:t>Sechste Ebene</a:t>
            </a:r>
          </a:p>
          <a:p>
            <a:pPr lvl="6"/>
            <a:r>
              <a:rPr lang="en-US" altLang="de-DE" noProof="0"/>
              <a:t>Siebte Ebene</a:t>
            </a:r>
            <a:endParaRPr lang="en-US" altLang="de-DE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4" y="4375142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6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Inside Talk</a:t>
            </a:r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11" name="Abgerundetes Rechteck 10"/>
          <p:cNvSpPr/>
          <p:nvPr userDrawn="1"/>
        </p:nvSpPr>
        <p:spPr bwMode="auto">
          <a:xfrm>
            <a:off x="10788075" y="6089655"/>
            <a:ext cx="1025236" cy="20431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2" name="Gruppieren 11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2853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vorgehobener Text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200151" y="549280"/>
            <a:ext cx="9024308" cy="5400675"/>
          </a:xfrm>
        </p:spPr>
        <p:txBody>
          <a:bodyPr anchor="ctr">
            <a:normAutofit/>
          </a:bodyPr>
          <a:lstStyle>
            <a:lvl1pPr>
              <a:defRPr sz="2700" b="0" baseline="0">
                <a:solidFill>
                  <a:srgbClr val="84B400"/>
                </a:solidFill>
              </a:defRPr>
            </a:lvl1pPr>
          </a:lstStyle>
          <a:p>
            <a:pPr lvl="0"/>
            <a:r>
              <a:rPr lang="en-US"/>
              <a:t>»Hervorgehobene Textpassage durch Klicken bearbeiten«</a:t>
            </a:r>
            <a:endParaRPr lang="en-US" dirty="0"/>
          </a:p>
        </p:txBody>
      </p:sp>
      <p:sp>
        <p:nvSpPr>
          <p:cNvPr id="7" name="Abgerundetes Rechteck 6"/>
          <p:cNvSpPr/>
          <p:nvPr userDrawn="1"/>
        </p:nvSpPr>
        <p:spPr bwMode="auto">
          <a:xfrm>
            <a:off x="10788075" y="6089655"/>
            <a:ext cx="1025236" cy="20431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8" name="Gruppieren 7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41618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Titelmasterformat durch Klicken bearbeiten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4" y="4375142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6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Inside Talk</a:t>
            </a:r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163021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7" name="Abgerundetes Rechteck 6"/>
          <p:cNvSpPr/>
          <p:nvPr userDrawn="1"/>
        </p:nvSpPr>
        <p:spPr bwMode="auto">
          <a:xfrm>
            <a:off x="10788075" y="6089655"/>
            <a:ext cx="1025236" cy="20431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8" name="Gruppieren 7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57905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4">
            <a:extLst>
              <a:ext uri="{FF2B5EF4-FFF2-40B4-BE49-F238E27FC236}">
                <a16:creationId xmlns:a16="http://schemas.microsoft.com/office/drawing/2014/main" id="{9A2AD137-E935-4BBB-B060-7236DEB53082}"/>
              </a:ext>
            </a:extLst>
          </p:cNvPr>
          <p:cNvSpPr/>
          <p:nvPr userDrawn="1"/>
        </p:nvSpPr>
        <p:spPr bwMode="auto">
          <a:xfrm>
            <a:off x="0" y="4"/>
            <a:ext cx="12192000" cy="6857999"/>
          </a:xfrm>
          <a:prstGeom prst="rect">
            <a:avLst/>
          </a:prstGeom>
          <a:gradFill flip="none" rotWithShape="1">
            <a:gsLst>
              <a:gs pos="5300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9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Titelmasterformat durch Klicken bearbeiten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4" y="4375835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6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Inside Talk</a:t>
            </a:r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30932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  <p:grpSp>
        <p:nvGrpSpPr>
          <p:cNvPr id="8" name="Gruppieren 7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91424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Titelmasterformat durch Klicken bearbeiten</a:t>
            </a: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4" y="4375835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6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Inside Talk</a:t>
            </a:r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30932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  <p:grpSp>
        <p:nvGrpSpPr>
          <p:cNvPr id="8" name="Gruppieren 7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340008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3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4" y="4375142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6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Inside Talk</a:t>
            </a:r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6" name="Abgerundetes Rechteck 5"/>
          <p:cNvSpPr/>
          <p:nvPr userDrawn="1"/>
        </p:nvSpPr>
        <p:spPr bwMode="auto">
          <a:xfrm>
            <a:off x="10788075" y="6089655"/>
            <a:ext cx="1025236" cy="20431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7" name="Gruppieren 6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Rectangle 6">
            <a:extLst>
              <a:ext uri="{FF2B5EF4-FFF2-40B4-BE49-F238E27FC236}">
                <a16:creationId xmlns:a16="http://schemas.microsoft.com/office/drawing/2014/main" id="{F9A5A5E3-0971-4514-ACFE-1268E2C4E36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163021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5199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r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6056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Wave | 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3D41F95-8F8F-47ED-AAAD-E75655F10E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4" y="283"/>
            <a:ext cx="12190992" cy="6857433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351088" y="1700214"/>
            <a:ext cx="3457575" cy="4392000"/>
          </a:xfrm>
        </p:spPr>
        <p:txBody>
          <a:bodyPr tIns="18000" anchor="ctr"/>
          <a:lstStyle>
            <a:lvl1pPr algn="l">
              <a:defRPr sz="3600"/>
            </a:lvl1pPr>
          </a:lstStyle>
          <a:p>
            <a:r>
              <a:rPr lang="de-DE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6585187"/>
      </p:ext>
    </p:extLst>
  </p:cSld>
  <p:clrMapOvr>
    <a:masterClrMapping/>
  </p:clrMapOvr>
  <p:transition spd="slow">
    <p:push dir="u"/>
  </p:transition>
  <p:extLst>
    <p:ext uri="{DCECCB84-F9BA-43D5-87BE-67443E8EF086}">
      <p15:sldGuideLst xmlns:p15="http://schemas.microsoft.com/office/powerpoint/2012/main">
        <p15:guide id="1" pos="3659" userDrawn="1">
          <p15:clr>
            <a:srgbClr val="F26B43"/>
          </p15:clr>
        </p15:guide>
        <p15:guide id="2" pos="4021" userDrawn="1">
          <p15:clr>
            <a:srgbClr val="F26B43"/>
          </p15:clr>
        </p15:guide>
        <p15:guide id="3" pos="1481" userDrawn="1">
          <p15:clr>
            <a:srgbClr val="F26B43"/>
          </p15:clr>
        </p15:guide>
        <p15:guide id="4" pos="6199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  <p15:guide id="7" pos="7469" userDrawn="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200154" y="5"/>
            <a:ext cx="10079567" cy="1052513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de-DE"/>
              <a:t>Titelmasterformat durch Klicken bearbeiten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6480000" y="1412880"/>
            <a:ext cx="5712000" cy="24479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Klicken, um ein Bild auszuwählen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200154" y="1412876"/>
            <a:ext cx="4982633" cy="467677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 altLang="de-DE" noProof="0"/>
              <a:t>Textmasterformate durch Klicken bearbeiten</a:t>
            </a:r>
          </a:p>
          <a:p>
            <a:pPr lvl="1"/>
            <a:r>
              <a:rPr lang="en-US" altLang="de-DE" noProof="0"/>
              <a:t>Zweite Ebene</a:t>
            </a:r>
          </a:p>
          <a:p>
            <a:pPr lvl="2"/>
            <a:r>
              <a:rPr lang="en-US" altLang="de-DE" noProof="0"/>
              <a:t>Dritte Ebene</a:t>
            </a:r>
          </a:p>
          <a:p>
            <a:pPr lvl="3"/>
            <a:r>
              <a:rPr lang="en-US" altLang="de-DE" noProof="0"/>
              <a:t>Vierte Ebene</a:t>
            </a:r>
          </a:p>
          <a:p>
            <a:pPr lvl="4"/>
            <a:r>
              <a:rPr lang="en-US" altLang="de-DE" noProof="0"/>
              <a:t>Fünfte Ebene</a:t>
            </a:r>
          </a:p>
          <a:p>
            <a:pPr lvl="5"/>
            <a:r>
              <a:rPr lang="en-US" altLang="de-DE" noProof="0"/>
              <a:t>Sechste Ebene</a:t>
            </a:r>
          </a:p>
          <a:p>
            <a:pPr lvl="6"/>
            <a:r>
              <a:rPr lang="en-US" altLang="de-DE" noProof="0"/>
              <a:t>Siebte Ebene</a:t>
            </a:r>
            <a:endParaRPr lang="en-US" altLang="de-DE" noProof="0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4" y="4375142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6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Inside Talk</a:t>
            </a:r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11" name="Abgerundetes Rechteck 10"/>
          <p:cNvSpPr/>
          <p:nvPr userDrawn="1"/>
        </p:nvSpPr>
        <p:spPr bwMode="auto">
          <a:xfrm>
            <a:off x="10788075" y="6089655"/>
            <a:ext cx="1025236" cy="20431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2" name="Gruppieren 11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13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0" name="Rectangle 6">
            <a:extLst>
              <a:ext uri="{FF2B5EF4-FFF2-40B4-BE49-F238E27FC236}">
                <a16:creationId xmlns:a16="http://schemas.microsoft.com/office/drawing/2014/main" id="{EAE94F78-1584-4378-A89D-71B99F45D877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163021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450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567">
          <p15:clr>
            <a:srgbClr val="FBAE40"/>
          </p15:clr>
        </p15:guide>
        <p15:guide id="3" pos="2903">
          <p15:clr>
            <a:srgbClr val="FBAE40"/>
          </p15:clr>
        </p15:guide>
        <p15:guide id="4" orient="horz" pos="3475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großes Bild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200154" y="5"/>
            <a:ext cx="10079567" cy="1052513"/>
          </a:xfrm>
        </p:spPr>
        <p:txBody>
          <a:bodyPr/>
          <a:lstStyle/>
          <a:p>
            <a:r>
              <a:rPr lang="en-US"/>
              <a:t>Klicken um Folientitel einzutragen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1200000" y="1412875"/>
            <a:ext cx="10992000" cy="3006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Klicken, um ein Bild auszuwählen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200000" y="4478400"/>
            <a:ext cx="10080000" cy="1580400"/>
          </a:xfrm>
        </p:spPr>
        <p:txBody>
          <a:bodyPr/>
          <a:lstStyle>
            <a:lvl1pPr marL="140396" indent="-140396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3pPr marL="133347" indent="0">
              <a:buNone/>
              <a:defRPr/>
            </a:lvl3pPr>
          </a:lstStyle>
          <a:p>
            <a:pPr lvl="0"/>
            <a:r>
              <a:rPr lang="en-US"/>
              <a:t>Klicken um Texte einzutragen</a:t>
            </a:r>
            <a:endParaRPr lang="en-US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4" y="4375142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6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Inside Talk</a:t>
            </a:r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7BB64991-FB07-41C2-9039-9AFE8916ED7B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163021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838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567">
          <p15:clr>
            <a:srgbClr val="FBAE40"/>
          </p15:clr>
        </p15:guide>
        <p15:guide id="3" pos="2903">
          <p15:clr>
            <a:srgbClr val="FBAE40"/>
          </p15:clr>
        </p15:guide>
        <p15:guide id="4" orient="horz" pos="347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de-DE"/>
              <a:t>Titelmasterformat durch Klicken bearbeiten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 hasCustomPrompt="1"/>
          </p:nvPr>
        </p:nvSpPr>
        <p:spPr>
          <a:xfrm>
            <a:off x="1200154" y="1420818"/>
            <a:ext cx="10079567" cy="4668837"/>
          </a:xfrm>
        </p:spPr>
        <p:txBody>
          <a:bodyPr/>
          <a:lstStyle/>
          <a:p>
            <a:pPr lvl="0"/>
            <a:r>
              <a:rPr lang="en-US" altLang="de-DE" noProof="0"/>
              <a:t>Textmasterformate durch Klicken bearbeiten</a:t>
            </a:r>
          </a:p>
          <a:p>
            <a:pPr lvl="1"/>
            <a:r>
              <a:rPr lang="en-US" altLang="de-DE" noProof="0"/>
              <a:t>Zweite Ebene</a:t>
            </a:r>
          </a:p>
          <a:p>
            <a:pPr lvl="2"/>
            <a:r>
              <a:rPr lang="en-US" altLang="de-DE" noProof="0"/>
              <a:t>Dritte Ebene</a:t>
            </a:r>
          </a:p>
          <a:p>
            <a:pPr lvl="3"/>
            <a:r>
              <a:rPr lang="en-US" altLang="de-DE" noProof="0"/>
              <a:t>Vierte Ebene</a:t>
            </a:r>
          </a:p>
          <a:p>
            <a:pPr lvl="4"/>
            <a:r>
              <a:rPr lang="en-US" altLang="de-DE" noProof="0"/>
              <a:t>Fünfte Ebene</a:t>
            </a:r>
          </a:p>
          <a:p>
            <a:pPr lvl="5"/>
            <a:r>
              <a:rPr lang="en-US" altLang="de-DE" noProof="0"/>
              <a:t>Sechste Ebene</a:t>
            </a:r>
          </a:p>
          <a:p>
            <a:pPr lvl="6"/>
            <a:r>
              <a:rPr lang="en-US" altLang="de-DE" noProof="0"/>
              <a:t>Siebte Ebene</a:t>
            </a:r>
            <a:endParaRPr lang="en-US" altLang="de-DE" noProof="0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3" name="Abgerundetes Rechteck 2"/>
          <p:cNvSpPr/>
          <p:nvPr userDrawn="1"/>
        </p:nvSpPr>
        <p:spPr bwMode="auto">
          <a:xfrm>
            <a:off x="10788075" y="6089655"/>
            <a:ext cx="1025236" cy="20431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18" name="Gruppieren 17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19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0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2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4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5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5" name="Rechteck 14"/>
          <p:cNvSpPr/>
          <p:nvPr userDrawn="1"/>
        </p:nvSpPr>
        <p:spPr bwMode="auto">
          <a:xfrm>
            <a:off x="0" y="2"/>
            <a:ext cx="12192000" cy="184666"/>
          </a:xfrm>
          <a:prstGeom prst="rect">
            <a:avLst/>
          </a:prstGeom>
          <a:gradFill flip="none" rotWithShape="1">
            <a:gsLst>
              <a:gs pos="5300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9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path path="shap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9133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rvorgehobener Text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200151" y="549280"/>
            <a:ext cx="9024308" cy="5400675"/>
          </a:xfrm>
        </p:spPr>
        <p:txBody>
          <a:bodyPr anchor="ctr">
            <a:normAutofit/>
          </a:bodyPr>
          <a:lstStyle>
            <a:lvl1pPr>
              <a:defRPr sz="2700" b="0" baseline="0">
                <a:solidFill>
                  <a:srgbClr val="84B400"/>
                </a:solidFill>
              </a:defRPr>
            </a:lvl1pPr>
          </a:lstStyle>
          <a:p>
            <a:pPr lvl="0"/>
            <a:r>
              <a:rPr lang="en-US"/>
              <a:t>»Hervorgehobene Textpassage durch Klicken bearbeiten«</a:t>
            </a:r>
            <a:endParaRPr lang="en-US" dirty="0"/>
          </a:p>
        </p:txBody>
      </p:sp>
      <p:sp>
        <p:nvSpPr>
          <p:cNvPr id="7" name="Abgerundetes Rechteck 6"/>
          <p:cNvSpPr/>
          <p:nvPr userDrawn="1"/>
        </p:nvSpPr>
        <p:spPr bwMode="auto">
          <a:xfrm>
            <a:off x="10788075" y="6089655"/>
            <a:ext cx="1025236" cy="204311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endParaRPr lang="en-US" sz="1200" dirty="0">
              <a:solidFill>
                <a:srgbClr val="000000"/>
              </a:solidFill>
            </a:endParaRPr>
          </a:p>
        </p:txBody>
      </p:sp>
      <p:grpSp>
        <p:nvGrpSpPr>
          <p:cNvPr id="8" name="Gruppieren 7"/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9" name="Freeform 5"/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6">
            <a:extLst>
              <a:ext uri="{FF2B5EF4-FFF2-40B4-BE49-F238E27FC236}">
                <a16:creationId xmlns:a16="http://schemas.microsoft.com/office/drawing/2014/main" id="{BDAD7885-9F72-4146-9C8A-D3F973E1D0F8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163021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5994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10128448" y="5733256"/>
            <a:ext cx="1920213" cy="864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0" y="548680"/>
            <a:ext cx="12192000" cy="630932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900000" rIns="900000" bIns="972000" anchor="b"/>
          <a:lstStyle>
            <a:lvl1pPr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Edit Master heading forma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200000" y="5850000"/>
            <a:ext cx="8352384" cy="349276"/>
          </a:xfrm>
        </p:spPr>
        <p:txBody>
          <a:bodyPr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Name of speaker ▪ c</a:t>
            </a:r>
            <a:r>
              <a:rPr lang="en-GB" altLang="de-DE" noProof="0" dirty="0"/>
              <a:t>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22941092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EHP_newlogo_PMS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8981" y="-182688"/>
            <a:ext cx="2059853" cy="1312240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1980949" y="0"/>
            <a:ext cx="10211051" cy="564778"/>
          </a:xfrm>
          <a:prstGeom prst="rect">
            <a:avLst/>
          </a:prstGeom>
          <a:solidFill>
            <a:srgbClr val="C1D6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rgbClr val="FFC000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1983468" y="653683"/>
            <a:ext cx="742397" cy="668158"/>
          </a:xfrm>
          <a:prstGeom prst="rect">
            <a:avLst/>
          </a:prstGeom>
          <a:solidFill>
            <a:srgbClr val="2D39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D2232A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802312" y="653683"/>
            <a:ext cx="742397" cy="668158"/>
          </a:xfrm>
          <a:prstGeom prst="rect">
            <a:avLst/>
          </a:prstGeom>
          <a:solidFill>
            <a:srgbClr val="C1D64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2D3956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3617664" y="651719"/>
            <a:ext cx="742397" cy="668158"/>
          </a:xfrm>
          <a:prstGeom prst="rect">
            <a:avLst/>
          </a:prstGeom>
          <a:solidFill>
            <a:srgbClr val="E0E9E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rgbClr val="2D39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01598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10128448" y="5733256"/>
            <a:ext cx="1920213" cy="864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0" y="548680"/>
            <a:ext cx="12192000" cy="630932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900000" rIns="900000" bIns="972000" anchor="b"/>
          <a:lstStyle>
            <a:lvl1pPr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200000" y="5850000"/>
            <a:ext cx="8352384" cy="349276"/>
          </a:xfrm>
        </p:spPr>
        <p:txBody>
          <a:bodyPr anchor="b"/>
          <a:lstStyle>
            <a:lvl1pPr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lvl="0"/>
            <a:r>
              <a:rPr lang="de-DE" dirty="0"/>
              <a:t>Verfassername ▪ Datum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516591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 für Drucke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0849"/>
            <a:ext cx="12192000" cy="1509795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10512491" y="5967246"/>
            <a:ext cx="1248139" cy="6301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0" name="Titel 1"/>
          <p:cNvSpPr>
            <a:spLocks noGrp="1"/>
          </p:cNvSpPr>
          <p:nvPr>
            <p:ph type="title"/>
          </p:nvPr>
        </p:nvSpPr>
        <p:spPr>
          <a:xfrm>
            <a:off x="1198033" y="3242172"/>
            <a:ext cx="10077451" cy="1050925"/>
          </a:xfrm>
        </p:spPr>
        <p:txBody>
          <a:bodyPr anchor="b"/>
          <a:lstStyle>
            <a:lvl1pPr>
              <a:defRPr sz="3000" b="1" baseline="0">
                <a:solidFill>
                  <a:srgbClr val="0A286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00151" y="4375868"/>
            <a:ext cx="10176933" cy="719138"/>
          </a:xfrm>
        </p:spPr>
        <p:txBody>
          <a:bodyPr/>
          <a:lstStyle>
            <a:lvl1pPr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lvl="0"/>
            <a:r>
              <a:rPr lang="de-DE" dirty="0"/>
              <a:t>Verfassername ▪ Datum durch Klicken bearbeiten</a:t>
            </a: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9161" y="5754443"/>
            <a:ext cx="1267431" cy="423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910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CED4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60849"/>
            <a:ext cx="12192000" cy="1509795"/>
          </a:xfrm>
          <a:prstGeom prst="rect">
            <a:avLst/>
          </a:prstGeom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1198033" y="3242172"/>
            <a:ext cx="10077451" cy="1050925"/>
          </a:xfrm>
        </p:spPr>
        <p:txBody>
          <a:bodyPr anchor="b"/>
          <a:lstStyle>
            <a:lvl1pPr>
              <a:defRPr sz="3000" b="1" baseline="0">
                <a:solidFill>
                  <a:srgbClr val="0A286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160" y="6167968"/>
            <a:ext cx="761688" cy="25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6867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921794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Titelmasterformat durch Klicken bearbeiten</a:t>
            </a:r>
            <a:endParaRPr lang="de-DE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2" hasCustomPrompt="1"/>
          </p:nvPr>
        </p:nvSpPr>
        <p:spPr>
          <a:xfrm>
            <a:off x="1200151" y="1420814"/>
            <a:ext cx="10079567" cy="4668837"/>
          </a:xfrm>
        </p:spPr>
        <p:txBody>
          <a:bodyPr/>
          <a:lstStyle/>
          <a:p>
            <a:pPr lvl="0"/>
            <a:r>
              <a:rPr lang="de-DE" altLang="de-DE" noProof="0" dirty="0"/>
              <a:t>Textmasterformate durch Klicken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/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  <a:p>
            <a:pPr lvl="5"/>
            <a:r>
              <a:rPr lang="de-DE" altLang="de-DE" noProof="0" dirty="0"/>
              <a:t>Sechste Ebene</a:t>
            </a:r>
          </a:p>
          <a:p>
            <a:pPr lvl="6"/>
            <a:r>
              <a:rPr lang="de-DE" altLang="de-DE" noProof="0" dirty="0"/>
              <a:t>Sieb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Slid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5871819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0CA3A5A-FC3B-4BB5-ACBF-184E4CB1CE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351584" y="2636912"/>
            <a:ext cx="7488832" cy="1512120"/>
          </a:xfrm>
        </p:spPr>
        <p:txBody>
          <a:bodyPr bIns="0" anchor="b"/>
          <a:lstStyle>
            <a:lvl1pPr>
              <a:defRPr sz="3600"/>
            </a:lvl1pPr>
          </a:lstStyle>
          <a:p>
            <a:r>
              <a:rPr lang="de-DE"/>
              <a:t>Divider</a:t>
            </a:r>
            <a:endParaRPr lang="de-DE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2D869F0-D2B4-45A5-8FB6-0F6295DC066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67808" y="4364458"/>
            <a:ext cx="5472608" cy="172883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2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/>
              <a:t>Optional short description of the current chapter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291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481" userDrawn="1">
          <p15:clr>
            <a:srgbClr val="F26B43"/>
          </p15:clr>
        </p15:guide>
        <p15:guide id="2" pos="6199" userDrawn="1">
          <p15:clr>
            <a:srgbClr val="F26B43"/>
          </p15:clr>
        </p15:guide>
        <p15:guide id="3" pos="2751" userDrawn="1">
          <p15:clr>
            <a:srgbClr val="A4A3A4"/>
          </p15:clr>
        </p15:guide>
        <p15:guide id="4" orient="horz" pos="3838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Agenda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200151" y="1412876"/>
            <a:ext cx="10079567" cy="4652963"/>
          </a:xfrm>
        </p:spPr>
        <p:txBody>
          <a:bodyPr/>
          <a:lstStyle>
            <a:lvl1pPr marL="187200" indent="-187200">
              <a:buClr>
                <a:schemeClr val="bg2"/>
              </a:buClr>
              <a:buFont typeface="Wingdings" panose="05000000000000000000" pitchFamily="2" charset="2"/>
              <a:buChar char="§"/>
              <a:defRPr sz="1800" b="1">
                <a:solidFill>
                  <a:schemeClr val="bg2"/>
                </a:solidFill>
              </a:defRPr>
            </a:lvl1pPr>
            <a:lvl2pPr>
              <a:buClr>
                <a:schemeClr val="tx2"/>
              </a:buClr>
              <a:defRPr sz="1800" b="1">
                <a:solidFill>
                  <a:schemeClr val="tx2"/>
                </a:solidFill>
              </a:defRPr>
            </a:lvl2pPr>
          </a:lstStyle>
          <a:p>
            <a:pPr lvl="0"/>
            <a:r>
              <a:rPr lang="de-DE" dirty="0"/>
              <a:t>Textmasterformat durch Klicken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670879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Titelmasterformat durch Klicken bearbeiten</a:t>
            </a:r>
            <a:endParaRPr lang="de-DE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1200152" y="1420814"/>
            <a:ext cx="4982633" cy="4668837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 altLang="de-DE" noProof="0" dirty="0"/>
              <a:t>Textmasterformate durch Klicken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/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  <a:p>
            <a:pPr lvl="5"/>
            <a:r>
              <a:rPr lang="de-DE" altLang="de-DE" noProof="0" dirty="0"/>
              <a:t>Sechste Ebene</a:t>
            </a:r>
          </a:p>
          <a:p>
            <a:pPr lvl="6"/>
            <a:r>
              <a:rPr lang="de-DE" altLang="de-DE" noProof="0" dirty="0"/>
              <a:t>Siebte Ebene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6345767" y="1420814"/>
            <a:ext cx="4933951" cy="4668837"/>
          </a:xfrm>
        </p:spPr>
        <p:txBody>
          <a:bodyPr/>
          <a:lstStyle/>
          <a:p>
            <a:pPr lvl="0"/>
            <a:r>
              <a:rPr lang="de-DE" altLang="de-DE" noProof="0" dirty="0"/>
              <a:t>Textmasterformate durch Klicken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/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  <a:p>
            <a:pPr lvl="5"/>
            <a:r>
              <a:rPr lang="de-DE" altLang="de-DE" noProof="0" dirty="0"/>
              <a:t>Sechste Ebene</a:t>
            </a:r>
          </a:p>
          <a:p>
            <a:pPr lvl="6"/>
            <a:r>
              <a:rPr lang="de-DE" altLang="de-DE" noProof="0" dirty="0"/>
              <a:t>Siebte Eben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5252695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rvorgehoben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200151" y="549276"/>
            <a:ext cx="9024308" cy="5400675"/>
          </a:xfrm>
        </p:spPr>
        <p:txBody>
          <a:bodyPr anchor="ctr">
            <a:normAutofit/>
          </a:bodyPr>
          <a:lstStyle>
            <a:lvl1pPr>
              <a:defRPr sz="3600" b="0" baseline="0">
                <a:solidFill>
                  <a:srgbClr val="0A2864"/>
                </a:solidFill>
              </a:defRPr>
            </a:lvl1pPr>
          </a:lstStyle>
          <a:p>
            <a:pPr lvl="0"/>
            <a:r>
              <a:rPr lang="de-DE" dirty="0"/>
              <a:t>»Hervorgehobene Textpassage durch Klicken bearbeiten«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1232948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rvorgehobener Text Alterna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1200151" y="549276"/>
            <a:ext cx="9024308" cy="5400675"/>
          </a:xfrm>
        </p:spPr>
        <p:txBody>
          <a:bodyPr anchor="ctr">
            <a:normAutofit/>
          </a:bodyPr>
          <a:lstStyle>
            <a:lvl1pPr>
              <a:defRPr sz="3600" b="0" baseline="0">
                <a:solidFill>
                  <a:srgbClr val="84B400"/>
                </a:solidFill>
              </a:defRPr>
            </a:lvl1pPr>
          </a:lstStyle>
          <a:p>
            <a:pPr lvl="0"/>
            <a:r>
              <a:rPr lang="de-DE" dirty="0"/>
              <a:t>»Hervorgehobene Textpassage durch Klicken bearbeiten«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022082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Titelmasterformat durch Klicken bearbeiten</a:t>
            </a:r>
            <a:endParaRPr lang="de-D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6102125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4736820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0151" y="1"/>
            <a:ext cx="10079567" cy="1052513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Titelmasterformat durch Klicken bearbeiten</a:t>
            </a:r>
            <a:endParaRPr lang="de-DE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6480000" y="1412876"/>
            <a:ext cx="5712000" cy="244792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Klicken, um ein Bild auszuwähl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1200152" y="1412876"/>
            <a:ext cx="4982633" cy="4676775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de-DE" altLang="de-DE" noProof="0" dirty="0"/>
              <a:t>Textmasterformate durch Klicken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/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  <a:p>
            <a:pPr lvl="5"/>
            <a:r>
              <a:rPr lang="de-DE" altLang="de-DE" noProof="0" dirty="0"/>
              <a:t>Sechste Ebene</a:t>
            </a:r>
          </a:p>
          <a:p>
            <a:pPr lvl="6"/>
            <a:r>
              <a:rPr lang="de-DE" altLang="de-DE" noProof="0" dirty="0"/>
              <a:t>Siebte Ebene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079616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567">
          <p15:clr>
            <a:srgbClr val="FBAE40"/>
          </p15:clr>
        </p15:guide>
        <p15:guide id="3" pos="2903">
          <p15:clr>
            <a:srgbClr val="FBAE40"/>
          </p15:clr>
        </p15:guide>
        <p15:guide id="4" orient="horz" pos="347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großes Bild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200151" y="1"/>
            <a:ext cx="10079567" cy="1052513"/>
          </a:xfrm>
        </p:spPr>
        <p:txBody>
          <a:bodyPr/>
          <a:lstStyle/>
          <a:p>
            <a:r>
              <a:rPr lang="de-DE" dirty="0"/>
              <a:t>Klicken um Folientitel einzutragen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2" hasCustomPrompt="1"/>
          </p:nvPr>
        </p:nvSpPr>
        <p:spPr>
          <a:xfrm>
            <a:off x="1200000" y="1412875"/>
            <a:ext cx="10992000" cy="3006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Klicken, um ein Bild auszuwähl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200000" y="4478400"/>
            <a:ext cx="10080000" cy="1580400"/>
          </a:xfrm>
        </p:spPr>
        <p:txBody>
          <a:bodyPr/>
          <a:lstStyle>
            <a:lvl1pPr marL="187200" indent="-187200">
              <a:buClr>
                <a:schemeClr val="tx2"/>
              </a:buClr>
              <a:buFont typeface="Wingdings" panose="05000000000000000000" pitchFamily="2" charset="2"/>
              <a:buChar char="§"/>
              <a:defRPr/>
            </a:lvl1pPr>
            <a:lvl3pPr marL="177800" indent="0">
              <a:buNone/>
              <a:defRPr/>
            </a:lvl3pPr>
          </a:lstStyle>
          <a:p>
            <a:pPr lvl="0"/>
            <a:r>
              <a:rPr lang="de-DE" dirty="0"/>
              <a:t>Klicken um Texte einzutragen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398049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90">
          <p15:clr>
            <a:srgbClr val="FBAE40"/>
          </p15:clr>
        </p15:guide>
        <p15:guide id="2" pos="567">
          <p15:clr>
            <a:srgbClr val="FBAE40"/>
          </p15:clr>
        </p15:guide>
        <p15:guide id="3" pos="2903">
          <p15:clr>
            <a:srgbClr val="FBAE40"/>
          </p15:clr>
        </p15:guide>
        <p15:guide id="4" orient="horz" pos="347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53609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71C95DDE-42E5-475D-82D3-2BBBDE2CCE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3651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377279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Klicken um Folientitel einzutra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de-DE" dirty="0"/>
              <a:t>Klicken um Text einzugeben</a:t>
            </a:r>
          </a:p>
          <a:p>
            <a:pPr lvl="1"/>
            <a:r>
              <a:rPr lang="de-DE" dirty="0"/>
              <a:t>Zweite Ebene mit [Listenebene erhöhen] erreichbar</a:t>
            </a:r>
          </a:p>
          <a:p>
            <a:pPr lvl="2"/>
            <a:r>
              <a:rPr lang="de-DE" dirty="0"/>
              <a:t>Dritte Ebene mit [Listenebene erhöhen] erreichbar</a:t>
            </a:r>
          </a:p>
          <a:p>
            <a:pPr lvl="3"/>
            <a:r>
              <a:rPr lang="de-DE" dirty="0"/>
              <a:t>Vierte Ebene mit [Listenebene erhöhen] erreichbar</a:t>
            </a:r>
          </a:p>
          <a:p>
            <a:pPr lvl="4"/>
            <a:r>
              <a:rPr lang="de-DE" dirty="0"/>
              <a:t>Fünfte Ebene mit [Listenebene erhöhen] erreichbar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2/16 ▪ Offer description Leakage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 Folie </a:t>
            </a:r>
            <a:fld id="{39B050BF-91DB-4262-B3F5-6535B600858C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74668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9">
            <a:extLst>
              <a:ext uri="{FF2B5EF4-FFF2-40B4-BE49-F238E27FC236}">
                <a16:creationId xmlns:a16="http://schemas.microsoft.com/office/drawing/2014/main" id="{5057B741-146C-41D9-AB5C-8210AAF5D9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de-DE"/>
              <a:t>Optional chapter navigation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60D47CC-B098-4438-85FF-736CF88916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59" y="1700212"/>
            <a:ext cx="11521281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58EF8B2C-AAEF-4C0C-8734-81E08A8F51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26" name="Fußzeilenplatzhalter 25">
            <a:extLst>
              <a:ext uri="{FF2B5EF4-FFF2-40B4-BE49-F238E27FC236}">
                <a16:creationId xmlns:a16="http://schemas.microsoft.com/office/drawing/2014/main" id="{D37F2AE5-AAF4-4546-83E0-978F73DEEC6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27" name="Foliennummernplatzhalter 26">
            <a:extLst>
              <a:ext uri="{FF2B5EF4-FFF2-40B4-BE49-F238E27FC236}">
                <a16:creationId xmlns:a16="http://schemas.microsoft.com/office/drawing/2014/main" id="{0AA2F0A9-977C-4529-9A0A-931F9EB3A9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6490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838" userDrawn="1">
          <p15:clr>
            <a:srgbClr val="F26B43"/>
          </p15:clr>
        </p15:guide>
        <p15:guide id="2" pos="211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orient="horz" pos="1071" userDrawn="1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10128448" y="5733256"/>
            <a:ext cx="1920213" cy="864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0" y="548680"/>
            <a:ext cx="12192000" cy="630932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900000" rIns="900000" bIns="972000" anchor="b"/>
          <a:lstStyle>
            <a:lvl1pPr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200000" y="5850000"/>
            <a:ext cx="8352384" cy="349276"/>
          </a:xfrm>
        </p:spPr>
        <p:txBody>
          <a:bodyPr anchor="b"/>
          <a:lstStyle>
            <a:lvl1pPr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lvl="0"/>
            <a:r>
              <a:rPr lang="de-DE" dirty="0"/>
              <a:t>Verfassername ▪ Datum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200342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016"/>
            </a:lvl1pPr>
          </a:lstStyle>
          <a:p>
            <a:r>
              <a:rPr lang="sk-SK"/>
              <a:t>Upravte štýly predlohy text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8"/>
            <a:ext cx="6172200" cy="4873625"/>
          </a:xfrm>
        </p:spPr>
        <p:txBody>
          <a:bodyPr/>
          <a:lstStyle>
            <a:lvl1pPr>
              <a:defRPr sz="3016"/>
            </a:lvl1pPr>
            <a:lvl2pPr>
              <a:defRPr sz="2639"/>
            </a:lvl2pPr>
            <a:lvl3pPr>
              <a:defRPr sz="2263"/>
            </a:lvl3pPr>
            <a:lvl4pPr>
              <a:defRPr sz="1886"/>
            </a:lvl4pPr>
            <a:lvl5pPr>
              <a:defRPr sz="1886"/>
            </a:lvl5pPr>
            <a:lvl6pPr>
              <a:defRPr sz="1886"/>
            </a:lvl6pPr>
            <a:lvl7pPr>
              <a:defRPr sz="1886"/>
            </a:lvl7pPr>
            <a:lvl8pPr>
              <a:defRPr sz="1886"/>
            </a:lvl8pPr>
            <a:lvl9pPr>
              <a:defRPr sz="1886"/>
            </a:lvl9pPr>
          </a:lstStyle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509"/>
            </a:lvl1pPr>
            <a:lvl2pPr marL="430997" indent="0">
              <a:buNone/>
              <a:defRPr sz="1320"/>
            </a:lvl2pPr>
            <a:lvl3pPr marL="861993" indent="0">
              <a:buNone/>
              <a:defRPr sz="1131"/>
            </a:lvl3pPr>
            <a:lvl4pPr marL="1292990" indent="0">
              <a:buNone/>
              <a:defRPr sz="942"/>
            </a:lvl4pPr>
            <a:lvl5pPr marL="1723986" indent="0">
              <a:buNone/>
              <a:defRPr sz="942"/>
            </a:lvl5pPr>
            <a:lvl6pPr marL="2154983" indent="0">
              <a:buNone/>
              <a:defRPr sz="942"/>
            </a:lvl6pPr>
            <a:lvl7pPr marL="2585979" indent="0">
              <a:buNone/>
              <a:defRPr sz="942"/>
            </a:lvl7pPr>
            <a:lvl8pPr marL="3016975" indent="0">
              <a:buNone/>
              <a:defRPr sz="942"/>
            </a:lvl8pPr>
            <a:lvl9pPr marL="3447971" indent="0">
              <a:buNone/>
              <a:defRPr sz="942"/>
            </a:lvl9pPr>
          </a:lstStyle>
          <a:p>
            <a:pPr lvl="0"/>
            <a:r>
              <a:rPr lang="sk-SK"/>
              <a:t>Upravte štýl pr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/>
          <a:lstStyle/>
          <a:p>
            <a:fld id="{E5DED423-3125-42DB-A145-60A6CFEFF339}" type="datetimeFigureOut">
              <a:rPr lang="sk-SK" smtClean="0"/>
              <a:t>5. 10. 2020</a:t>
            </a:fld>
            <a:endParaRPr lang="sk-S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BEE0AB-F466-4EBA-BE9B-F2175290E5CC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274341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10128448" y="5733256"/>
            <a:ext cx="1920213" cy="8645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0" y="548680"/>
            <a:ext cx="12192000" cy="630932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900000" rIns="900000" bIns="972000" anchor="b"/>
          <a:lstStyle>
            <a:lvl1pPr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Edit Master heading format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1200000" y="5850000"/>
            <a:ext cx="8352384" cy="349276"/>
          </a:xfrm>
        </p:spPr>
        <p:txBody>
          <a:bodyPr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 b="1">
                <a:solidFill>
                  <a:srgbClr val="84B400"/>
                </a:solidFill>
              </a:defRPr>
            </a:lvl1pPr>
            <a:lvl2pPr marL="1587" indent="0">
              <a:buNone/>
              <a:defRPr b="1">
                <a:solidFill>
                  <a:schemeClr val="bg1"/>
                </a:solidFill>
              </a:defRPr>
            </a:lvl2pPr>
            <a:lvl3pPr marL="0" indent="0">
              <a:buNone/>
              <a:defRPr b="1">
                <a:solidFill>
                  <a:schemeClr val="bg1"/>
                </a:solidFill>
              </a:defRPr>
            </a:lvl3pPr>
            <a:lvl4pPr marL="0" indent="0">
              <a:buNone/>
              <a:defRPr b="1">
                <a:solidFill>
                  <a:schemeClr val="bg1"/>
                </a:solidFill>
              </a:defRPr>
            </a:lvl4pPr>
            <a:lvl5pPr marL="0" indent="0">
              <a:defRPr b="1">
                <a:solidFill>
                  <a:schemeClr val="bg1"/>
                </a:solidFill>
              </a:defRPr>
            </a:lvl5pPr>
            <a:lvl6pPr marL="0" indent="0">
              <a:defRPr b="1">
                <a:solidFill>
                  <a:schemeClr val="bg1"/>
                </a:solidFill>
              </a:defRPr>
            </a:lvl6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/>
              <a:t>Name of speaker ▪ c</a:t>
            </a:r>
            <a:r>
              <a:rPr lang="en-GB" altLang="de-DE" noProof="0" dirty="0"/>
              <a:t>lick to edit date</a:t>
            </a:r>
          </a:p>
        </p:txBody>
      </p:sp>
    </p:spTree>
    <p:extLst>
      <p:ext uri="{BB962C8B-B14F-4D97-AF65-F5344CB8AC3E}">
        <p14:creationId xmlns:p14="http://schemas.microsoft.com/office/powerpoint/2010/main" val="824725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Two contents |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335360" y="1700212"/>
            <a:ext cx="547260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6384033" y="1700212"/>
            <a:ext cx="547260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00AAD40-A57B-4285-B9F0-D5F1FA90F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A60DE590-0024-4622-BE43-058DAE8E27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de-DE"/>
              <a:t>Optional chapter navigation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F545E80E-1A68-4F93-891E-3DDF404A8D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08CEFFD3-86A9-45B5-B3E6-353D059647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6294869D-4207-49B2-B6D7-FF9F86233EB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1577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1" userDrawn="1">
          <p15:clr>
            <a:srgbClr val="F26B43"/>
          </p15:clr>
        </p15:guide>
        <p15:guide id="2" pos="3659" userDrawn="1">
          <p15:clr>
            <a:srgbClr val="F26B43"/>
          </p15:clr>
        </p15:guide>
        <p15:guide id="3" pos="7469" userDrawn="1">
          <p15:clr>
            <a:srgbClr val="F26B43"/>
          </p15:clr>
        </p15:guide>
        <p15:guide id="4" pos="4021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Two contents |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35361" y="1700212"/>
            <a:ext cx="7488832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57AF223A-9133-4CD7-A24F-37E750D20428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8400255" y="1700212"/>
            <a:ext cx="3456385" cy="4392613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8D19567-FD19-4D38-B30B-7E2066A985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B59DA4E4-3793-4F45-B5A1-1E576F8B7B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de-DE"/>
              <a:t>Optional chapter navigation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ED8BF548-EA41-4DED-B3E4-B97740EB206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6D186-3DD7-4771-919F-8DE8651C0EB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BC363B5-786A-4A1E-981C-D658EB95CC2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5087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orient="horz" pos="3838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4929" userDrawn="1">
          <p15:clr>
            <a:srgbClr val="F26B43"/>
          </p15:clr>
        </p15:guide>
        <p15:guide id="5" pos="5292" userDrawn="1">
          <p15:clr>
            <a:srgbClr val="F26B43"/>
          </p15:clr>
        </p15:guide>
        <p15:guide id="6" pos="7469" userDrawn="1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335360" y="1700212"/>
            <a:ext cx="3456384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367808" y="1700213"/>
            <a:ext cx="3456384" cy="439261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 bwMode="gray">
          <a:xfrm>
            <a:off x="8400257" y="1700212"/>
            <a:ext cx="3456384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559B892-8AC0-4509-86CE-12729B8804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21" name="Textplatzhalter 9">
            <a:extLst>
              <a:ext uri="{FF2B5EF4-FFF2-40B4-BE49-F238E27FC236}">
                <a16:creationId xmlns:a16="http://schemas.microsoft.com/office/drawing/2014/main" id="{84973FB0-2897-4AF2-8709-AD7B14F5AC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de-DE"/>
              <a:t>Optional chapter navigation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32355AD8-79BB-446E-B418-75B4A82E22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23" name="Fußzeilenplatzhalter 22">
            <a:extLst>
              <a:ext uri="{FF2B5EF4-FFF2-40B4-BE49-F238E27FC236}">
                <a16:creationId xmlns:a16="http://schemas.microsoft.com/office/drawing/2014/main" id="{764EA279-28B3-4F23-9F4F-C390D8097AB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24" name="Foliennummernplatzhalter 23">
            <a:extLst>
              <a:ext uri="{FF2B5EF4-FFF2-40B4-BE49-F238E27FC236}">
                <a16:creationId xmlns:a16="http://schemas.microsoft.com/office/drawing/2014/main" id="{0F6864F8-6DA1-494F-8F12-B9CF5BD90D6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907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orient="horz" pos="3838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2389" userDrawn="1">
          <p15:clr>
            <a:srgbClr val="F26B43"/>
          </p15:clr>
        </p15:guide>
        <p15:guide id="5" pos="2751" userDrawn="1">
          <p15:clr>
            <a:srgbClr val="F26B43"/>
          </p15:clr>
        </p15:guide>
        <p15:guide id="6" pos="4929" userDrawn="1">
          <p15:clr>
            <a:srgbClr val="F26B43"/>
          </p15:clr>
        </p15:guide>
        <p15:guide id="7" pos="5292" userDrawn="1">
          <p15:clr>
            <a:srgbClr val="F26B43"/>
          </p15:clr>
        </p15:guide>
        <p15:guide id="8" pos="7469" userDrawn="1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| One content |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 bwMode="gray">
          <a:xfrm>
            <a:off x="335360" y="1700212"/>
            <a:ext cx="5472608" cy="4392613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384032" y="1700213"/>
            <a:ext cx="5472608" cy="4392612"/>
          </a:xfrm>
          <a:prstGeom prst="rect">
            <a:avLst/>
          </a:prstGeom>
          <a:solidFill>
            <a:srgbClr val="D7D7D7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1000" b="0"/>
            </a:lvl1pPr>
          </a:lstStyle>
          <a:p>
            <a:r>
              <a:rPr lang="de-DE"/>
              <a:t>Click icon </a:t>
            </a:r>
            <a:br>
              <a:rPr lang="de-DE"/>
            </a:br>
            <a:r>
              <a:rPr lang="de-DE"/>
              <a:t>to add picture</a:t>
            </a: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9CEF7C2-D8C0-4BB8-AD5C-BDD6588F8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ECA041DF-2CF8-4CBB-B4E8-79FC74A15B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59" y="6381328"/>
            <a:ext cx="5040000" cy="288000"/>
          </a:xfrm>
          <a:prstGeom prst="rect">
            <a:avLst/>
          </a:prstGeom>
        </p:spPr>
        <p:txBody>
          <a:bodyPr bIns="72000"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0" b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1">
                <a:solidFill>
                  <a:schemeClr val="tx1"/>
                </a:solidFill>
              </a:defRPr>
            </a:lvl9pPr>
          </a:lstStyle>
          <a:p>
            <a:r>
              <a:rPr lang="de-DE"/>
              <a:t>Optional chapter navigation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DC02713C-BFA6-44EA-B181-48B4FD9723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63" y="6633360"/>
            <a:ext cx="431800" cy="36000"/>
          </a:xfrm>
          <a:solidFill>
            <a:schemeClr val="bg2"/>
          </a:solidFill>
          <a:ln>
            <a:noFill/>
          </a:ln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solidFill>
                  <a:schemeClr val="bg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 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353119-D679-4B08-92B3-298E3EA939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5AFE5916-C314-42E4-A317-05A70360E19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60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3" pos="3659" userDrawn="1">
          <p15:clr>
            <a:srgbClr val="F26B43"/>
          </p15:clr>
        </p15:guide>
        <p15:guide id="4" pos="4021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9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ags" Target="../tags/tag3.xml"/><Relationship Id="rId27" Type="http://schemas.openxmlformats.org/officeDocument/2006/relationships/image" Target="../media/image6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8.xml"/><Relationship Id="rId21" Type="http://schemas.openxmlformats.org/officeDocument/2006/relationships/oleObject" Target="../embeddings/oleObject5.bin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tags" Target="../tags/tag10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image" Target="../media/image10.wmf"/><Relationship Id="rId10" Type="http://schemas.openxmlformats.org/officeDocument/2006/relationships/slideLayout" Target="../slideLayouts/slideLayout45.xml"/><Relationship Id="rId19" Type="http://schemas.openxmlformats.org/officeDocument/2006/relationships/vmlDrawing" Target="../drawings/vmlDrawing5.v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D468C915-B4F7-4BE0-AA6E-62C7414095C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11640616" y="6309320"/>
            <a:ext cx="194335" cy="360000"/>
            <a:chOff x="-3985120" y="1211382"/>
            <a:chExt cx="2808077" cy="5201882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4C6B6AD7-870C-4FFD-9F93-0D7F8880AF9D}"/>
                </a:ext>
              </a:extLst>
            </p:cNvPr>
            <p:cNvSpPr>
              <a:spLocks/>
            </p:cNvSpPr>
            <p:nvPr/>
          </p:nvSpPr>
          <p:spPr bwMode="gray">
            <a:xfrm>
              <a:off x="-3133488" y="1211382"/>
              <a:ext cx="1956445" cy="1496120"/>
            </a:xfrm>
            <a:custGeom>
              <a:avLst/>
              <a:gdLst>
                <a:gd name="T0" fmla="*/ 1655 w 1957"/>
                <a:gd name="T1" fmla="*/ 1304 h 1513"/>
                <a:gd name="T2" fmla="*/ 1687 w 1957"/>
                <a:gd name="T3" fmla="*/ 1167 h 1513"/>
                <a:gd name="T4" fmla="*/ 1718 w 1957"/>
                <a:gd name="T5" fmla="*/ 1035 h 1513"/>
                <a:gd name="T6" fmla="*/ 1747 w 1957"/>
                <a:gd name="T7" fmla="*/ 908 h 1513"/>
                <a:gd name="T8" fmla="*/ 1775 w 1957"/>
                <a:gd name="T9" fmla="*/ 788 h 1513"/>
                <a:gd name="T10" fmla="*/ 1802 w 1957"/>
                <a:gd name="T11" fmla="*/ 673 h 1513"/>
                <a:gd name="T12" fmla="*/ 1827 w 1957"/>
                <a:gd name="T13" fmla="*/ 566 h 1513"/>
                <a:gd name="T14" fmla="*/ 1849 w 1957"/>
                <a:gd name="T15" fmla="*/ 467 h 1513"/>
                <a:gd name="T16" fmla="*/ 1871 w 1957"/>
                <a:gd name="T17" fmla="*/ 376 h 1513"/>
                <a:gd name="T18" fmla="*/ 1890 w 1957"/>
                <a:gd name="T19" fmla="*/ 293 h 1513"/>
                <a:gd name="T20" fmla="*/ 1907 w 1957"/>
                <a:gd name="T21" fmla="*/ 220 h 1513"/>
                <a:gd name="T22" fmla="*/ 1922 w 1957"/>
                <a:gd name="T23" fmla="*/ 157 h 1513"/>
                <a:gd name="T24" fmla="*/ 1934 w 1957"/>
                <a:gd name="T25" fmla="*/ 104 h 1513"/>
                <a:gd name="T26" fmla="*/ 1944 w 1957"/>
                <a:gd name="T27" fmla="*/ 62 h 1513"/>
                <a:gd name="T28" fmla="*/ 1951 w 1957"/>
                <a:gd name="T29" fmla="*/ 31 h 1513"/>
                <a:gd name="T30" fmla="*/ 1955 w 1957"/>
                <a:gd name="T31" fmla="*/ 12 h 1513"/>
                <a:gd name="T32" fmla="*/ 1957 w 1957"/>
                <a:gd name="T33" fmla="*/ 5 h 1513"/>
                <a:gd name="T34" fmla="*/ 345 w 1957"/>
                <a:gd name="T35" fmla="*/ 0 h 1513"/>
                <a:gd name="T36" fmla="*/ 344 w 1957"/>
                <a:gd name="T37" fmla="*/ 7 h 1513"/>
                <a:gd name="T38" fmla="*/ 339 w 1957"/>
                <a:gd name="T39" fmla="*/ 30 h 1513"/>
                <a:gd name="T40" fmla="*/ 331 w 1957"/>
                <a:gd name="T41" fmla="*/ 67 h 1513"/>
                <a:gd name="T42" fmla="*/ 320 w 1957"/>
                <a:gd name="T43" fmla="*/ 117 h 1513"/>
                <a:gd name="T44" fmla="*/ 305 w 1957"/>
                <a:gd name="T45" fmla="*/ 180 h 1513"/>
                <a:gd name="T46" fmla="*/ 288 w 1957"/>
                <a:gd name="T47" fmla="*/ 255 h 1513"/>
                <a:gd name="T48" fmla="*/ 268 w 1957"/>
                <a:gd name="T49" fmla="*/ 341 h 1513"/>
                <a:gd name="T50" fmla="*/ 246 w 1957"/>
                <a:gd name="T51" fmla="*/ 438 h 1513"/>
                <a:gd name="T52" fmla="*/ 221 w 1957"/>
                <a:gd name="T53" fmla="*/ 544 h 1513"/>
                <a:gd name="T54" fmla="*/ 194 w 1957"/>
                <a:gd name="T55" fmla="*/ 661 h 1513"/>
                <a:gd name="T56" fmla="*/ 166 w 1957"/>
                <a:gd name="T57" fmla="*/ 785 h 1513"/>
                <a:gd name="T58" fmla="*/ 135 w 1957"/>
                <a:gd name="T59" fmla="*/ 918 h 1513"/>
                <a:gd name="T60" fmla="*/ 103 w 1957"/>
                <a:gd name="T61" fmla="*/ 1058 h 1513"/>
                <a:gd name="T62" fmla="*/ 70 w 1957"/>
                <a:gd name="T63" fmla="*/ 1204 h 1513"/>
                <a:gd name="T64" fmla="*/ 35 w 1957"/>
                <a:gd name="T65" fmla="*/ 1356 h 1513"/>
                <a:gd name="T66" fmla="*/ 0 w 1957"/>
                <a:gd name="T67" fmla="*/ 1513 h 1513"/>
                <a:gd name="T68" fmla="*/ 94 w 1957"/>
                <a:gd name="T69" fmla="*/ 1499 h 1513"/>
                <a:gd name="T70" fmla="*/ 189 w 1957"/>
                <a:gd name="T71" fmla="*/ 1484 h 1513"/>
                <a:gd name="T72" fmla="*/ 286 w 1957"/>
                <a:gd name="T73" fmla="*/ 1471 h 1513"/>
                <a:gd name="T74" fmla="*/ 385 w 1957"/>
                <a:gd name="T75" fmla="*/ 1457 h 1513"/>
                <a:gd name="T76" fmla="*/ 484 w 1957"/>
                <a:gd name="T77" fmla="*/ 1444 h 1513"/>
                <a:gd name="T78" fmla="*/ 586 w 1957"/>
                <a:gd name="T79" fmla="*/ 1430 h 1513"/>
                <a:gd name="T80" fmla="*/ 688 w 1957"/>
                <a:gd name="T81" fmla="*/ 1417 h 1513"/>
                <a:gd name="T82" fmla="*/ 791 w 1957"/>
                <a:gd name="T83" fmla="*/ 1404 h 1513"/>
                <a:gd name="T84" fmla="*/ 895 w 1957"/>
                <a:gd name="T85" fmla="*/ 1391 h 1513"/>
                <a:gd name="T86" fmla="*/ 1001 w 1957"/>
                <a:gd name="T87" fmla="*/ 1378 h 1513"/>
                <a:gd name="T88" fmla="*/ 1107 w 1957"/>
                <a:gd name="T89" fmla="*/ 1365 h 1513"/>
                <a:gd name="T90" fmla="*/ 1215 w 1957"/>
                <a:gd name="T91" fmla="*/ 1353 h 1513"/>
                <a:gd name="T92" fmla="*/ 1324 w 1957"/>
                <a:gd name="T93" fmla="*/ 1341 h 1513"/>
                <a:gd name="T94" fmla="*/ 1433 w 1957"/>
                <a:gd name="T95" fmla="*/ 1328 h 1513"/>
                <a:gd name="T96" fmla="*/ 1543 w 1957"/>
                <a:gd name="T97" fmla="*/ 1317 h 1513"/>
                <a:gd name="T98" fmla="*/ 1655 w 1957"/>
                <a:gd name="T99" fmla="*/ 1304 h 1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57" h="1513">
                  <a:moveTo>
                    <a:pt x="1655" y="1304"/>
                  </a:moveTo>
                  <a:lnTo>
                    <a:pt x="1687" y="1167"/>
                  </a:lnTo>
                  <a:lnTo>
                    <a:pt x="1718" y="1035"/>
                  </a:lnTo>
                  <a:lnTo>
                    <a:pt x="1747" y="908"/>
                  </a:lnTo>
                  <a:lnTo>
                    <a:pt x="1775" y="788"/>
                  </a:lnTo>
                  <a:lnTo>
                    <a:pt x="1802" y="673"/>
                  </a:lnTo>
                  <a:lnTo>
                    <a:pt x="1827" y="566"/>
                  </a:lnTo>
                  <a:lnTo>
                    <a:pt x="1849" y="467"/>
                  </a:lnTo>
                  <a:lnTo>
                    <a:pt x="1871" y="376"/>
                  </a:lnTo>
                  <a:lnTo>
                    <a:pt x="1890" y="293"/>
                  </a:lnTo>
                  <a:lnTo>
                    <a:pt x="1907" y="220"/>
                  </a:lnTo>
                  <a:lnTo>
                    <a:pt x="1922" y="157"/>
                  </a:lnTo>
                  <a:lnTo>
                    <a:pt x="1934" y="104"/>
                  </a:lnTo>
                  <a:lnTo>
                    <a:pt x="1944" y="62"/>
                  </a:lnTo>
                  <a:lnTo>
                    <a:pt x="1951" y="31"/>
                  </a:lnTo>
                  <a:lnTo>
                    <a:pt x="1955" y="12"/>
                  </a:lnTo>
                  <a:lnTo>
                    <a:pt x="1957" y="5"/>
                  </a:lnTo>
                  <a:lnTo>
                    <a:pt x="345" y="0"/>
                  </a:lnTo>
                  <a:lnTo>
                    <a:pt x="344" y="7"/>
                  </a:lnTo>
                  <a:lnTo>
                    <a:pt x="339" y="30"/>
                  </a:lnTo>
                  <a:lnTo>
                    <a:pt x="331" y="67"/>
                  </a:lnTo>
                  <a:lnTo>
                    <a:pt x="320" y="117"/>
                  </a:lnTo>
                  <a:lnTo>
                    <a:pt x="305" y="180"/>
                  </a:lnTo>
                  <a:lnTo>
                    <a:pt x="288" y="255"/>
                  </a:lnTo>
                  <a:lnTo>
                    <a:pt x="268" y="341"/>
                  </a:lnTo>
                  <a:lnTo>
                    <a:pt x="246" y="438"/>
                  </a:lnTo>
                  <a:lnTo>
                    <a:pt x="221" y="544"/>
                  </a:lnTo>
                  <a:lnTo>
                    <a:pt x="194" y="661"/>
                  </a:lnTo>
                  <a:lnTo>
                    <a:pt x="166" y="785"/>
                  </a:lnTo>
                  <a:lnTo>
                    <a:pt x="135" y="918"/>
                  </a:lnTo>
                  <a:lnTo>
                    <a:pt x="103" y="1058"/>
                  </a:lnTo>
                  <a:lnTo>
                    <a:pt x="70" y="1204"/>
                  </a:lnTo>
                  <a:lnTo>
                    <a:pt x="35" y="1356"/>
                  </a:lnTo>
                  <a:lnTo>
                    <a:pt x="0" y="1513"/>
                  </a:lnTo>
                  <a:lnTo>
                    <a:pt x="94" y="1499"/>
                  </a:lnTo>
                  <a:lnTo>
                    <a:pt x="189" y="1484"/>
                  </a:lnTo>
                  <a:lnTo>
                    <a:pt x="286" y="1471"/>
                  </a:lnTo>
                  <a:lnTo>
                    <a:pt x="385" y="1457"/>
                  </a:lnTo>
                  <a:lnTo>
                    <a:pt x="484" y="1444"/>
                  </a:lnTo>
                  <a:lnTo>
                    <a:pt x="586" y="1430"/>
                  </a:lnTo>
                  <a:lnTo>
                    <a:pt x="688" y="1417"/>
                  </a:lnTo>
                  <a:lnTo>
                    <a:pt x="791" y="1404"/>
                  </a:lnTo>
                  <a:lnTo>
                    <a:pt x="895" y="1391"/>
                  </a:lnTo>
                  <a:lnTo>
                    <a:pt x="1001" y="1378"/>
                  </a:lnTo>
                  <a:lnTo>
                    <a:pt x="1107" y="1365"/>
                  </a:lnTo>
                  <a:lnTo>
                    <a:pt x="1215" y="1353"/>
                  </a:lnTo>
                  <a:lnTo>
                    <a:pt x="1324" y="1341"/>
                  </a:lnTo>
                  <a:lnTo>
                    <a:pt x="1433" y="1328"/>
                  </a:lnTo>
                  <a:lnTo>
                    <a:pt x="1543" y="1317"/>
                  </a:lnTo>
                  <a:lnTo>
                    <a:pt x="1655" y="1304"/>
                  </a:ln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83281C5C-C908-4529-8ADA-34F1AF300521}"/>
                </a:ext>
              </a:extLst>
            </p:cNvPr>
            <p:cNvSpPr>
              <a:spLocks/>
            </p:cNvSpPr>
            <p:nvPr/>
          </p:nvSpPr>
          <p:spPr bwMode="gray">
            <a:xfrm>
              <a:off x="-3985120" y="3467061"/>
              <a:ext cx="2278689" cy="2946203"/>
            </a:xfrm>
            <a:custGeom>
              <a:avLst/>
              <a:gdLst>
                <a:gd name="T0" fmla="*/ 555 w 2278"/>
                <a:gd name="T1" fmla="*/ 526 h 2940"/>
                <a:gd name="T2" fmla="*/ 504 w 2278"/>
                <a:gd name="T3" fmla="*/ 746 h 2940"/>
                <a:gd name="T4" fmla="*/ 454 w 2278"/>
                <a:gd name="T5" fmla="*/ 964 h 2940"/>
                <a:gd name="T6" fmla="*/ 405 w 2278"/>
                <a:gd name="T7" fmla="*/ 1179 h 2940"/>
                <a:gd name="T8" fmla="*/ 356 w 2278"/>
                <a:gd name="T9" fmla="*/ 1391 h 2940"/>
                <a:gd name="T10" fmla="*/ 310 w 2278"/>
                <a:gd name="T11" fmla="*/ 1595 h 2940"/>
                <a:gd name="T12" fmla="*/ 264 w 2278"/>
                <a:gd name="T13" fmla="*/ 1792 h 2940"/>
                <a:gd name="T14" fmla="*/ 222 w 2278"/>
                <a:gd name="T15" fmla="*/ 1978 h 2940"/>
                <a:gd name="T16" fmla="*/ 181 w 2278"/>
                <a:gd name="T17" fmla="*/ 2153 h 2940"/>
                <a:gd name="T18" fmla="*/ 144 w 2278"/>
                <a:gd name="T19" fmla="*/ 2315 h 2940"/>
                <a:gd name="T20" fmla="*/ 110 w 2278"/>
                <a:gd name="T21" fmla="*/ 2462 h 2940"/>
                <a:gd name="T22" fmla="*/ 80 w 2278"/>
                <a:gd name="T23" fmla="*/ 2593 h 2940"/>
                <a:gd name="T24" fmla="*/ 54 w 2278"/>
                <a:gd name="T25" fmla="*/ 2705 h 2940"/>
                <a:gd name="T26" fmla="*/ 32 w 2278"/>
                <a:gd name="T27" fmla="*/ 2798 h 2940"/>
                <a:gd name="T28" fmla="*/ 17 w 2278"/>
                <a:gd name="T29" fmla="*/ 2869 h 2940"/>
                <a:gd name="T30" fmla="*/ 5 w 2278"/>
                <a:gd name="T31" fmla="*/ 2917 h 2940"/>
                <a:gd name="T32" fmla="*/ 0 w 2278"/>
                <a:gd name="T33" fmla="*/ 2940 h 2940"/>
                <a:gd name="T34" fmla="*/ 1589 w 2278"/>
                <a:gd name="T35" fmla="*/ 2940 h 2940"/>
                <a:gd name="T36" fmla="*/ 1594 w 2278"/>
                <a:gd name="T37" fmla="*/ 2918 h 2940"/>
                <a:gd name="T38" fmla="*/ 1606 w 2278"/>
                <a:gd name="T39" fmla="*/ 2864 h 2940"/>
                <a:gd name="T40" fmla="*/ 1627 w 2278"/>
                <a:gd name="T41" fmla="*/ 2778 h 2940"/>
                <a:gd name="T42" fmla="*/ 1654 w 2278"/>
                <a:gd name="T43" fmla="*/ 2663 h 2940"/>
                <a:gd name="T44" fmla="*/ 1687 w 2278"/>
                <a:gd name="T45" fmla="*/ 2524 h 2940"/>
                <a:gd name="T46" fmla="*/ 1725 w 2278"/>
                <a:gd name="T47" fmla="*/ 2361 h 2940"/>
                <a:gd name="T48" fmla="*/ 1769 w 2278"/>
                <a:gd name="T49" fmla="*/ 2176 h 2940"/>
                <a:gd name="T50" fmla="*/ 1817 w 2278"/>
                <a:gd name="T51" fmla="*/ 1974 h 2940"/>
                <a:gd name="T52" fmla="*/ 1867 w 2278"/>
                <a:gd name="T53" fmla="*/ 1756 h 2940"/>
                <a:gd name="T54" fmla="*/ 1922 w 2278"/>
                <a:gd name="T55" fmla="*/ 1524 h 2940"/>
                <a:gd name="T56" fmla="*/ 1979 w 2278"/>
                <a:gd name="T57" fmla="*/ 1283 h 2940"/>
                <a:gd name="T58" fmla="*/ 2037 w 2278"/>
                <a:gd name="T59" fmla="*/ 1033 h 2940"/>
                <a:gd name="T60" fmla="*/ 2097 w 2278"/>
                <a:gd name="T61" fmla="*/ 777 h 2940"/>
                <a:gd name="T62" fmla="*/ 2157 w 2278"/>
                <a:gd name="T63" fmla="*/ 517 h 2940"/>
                <a:gd name="T64" fmla="*/ 2218 w 2278"/>
                <a:gd name="T65" fmla="*/ 257 h 2940"/>
                <a:gd name="T66" fmla="*/ 2278 w 2278"/>
                <a:gd name="T67" fmla="*/ 0 h 2940"/>
                <a:gd name="T68" fmla="*/ 2146 w 2278"/>
                <a:gd name="T69" fmla="*/ 33 h 2940"/>
                <a:gd name="T70" fmla="*/ 2016 w 2278"/>
                <a:gd name="T71" fmla="*/ 67 h 2940"/>
                <a:gd name="T72" fmla="*/ 1891 w 2278"/>
                <a:gd name="T73" fmla="*/ 100 h 2940"/>
                <a:gd name="T74" fmla="*/ 1769 w 2278"/>
                <a:gd name="T75" fmla="*/ 134 h 2940"/>
                <a:gd name="T76" fmla="*/ 1650 w 2278"/>
                <a:gd name="T77" fmla="*/ 167 h 2940"/>
                <a:gd name="T78" fmla="*/ 1534 w 2278"/>
                <a:gd name="T79" fmla="*/ 201 h 2940"/>
                <a:gd name="T80" fmla="*/ 1422 w 2278"/>
                <a:gd name="T81" fmla="*/ 234 h 2940"/>
                <a:gd name="T82" fmla="*/ 1313 w 2278"/>
                <a:gd name="T83" fmla="*/ 267 h 2940"/>
                <a:gd name="T84" fmla="*/ 1207 w 2278"/>
                <a:gd name="T85" fmla="*/ 300 h 2940"/>
                <a:gd name="T86" fmla="*/ 1104 w 2278"/>
                <a:gd name="T87" fmla="*/ 333 h 2940"/>
                <a:gd name="T88" fmla="*/ 1005 w 2278"/>
                <a:gd name="T89" fmla="*/ 367 h 2940"/>
                <a:gd name="T90" fmla="*/ 909 w 2278"/>
                <a:gd name="T91" fmla="*/ 399 h 2940"/>
                <a:gd name="T92" fmla="*/ 816 w 2278"/>
                <a:gd name="T93" fmla="*/ 431 h 2940"/>
                <a:gd name="T94" fmla="*/ 726 w 2278"/>
                <a:gd name="T95" fmla="*/ 463 h 2940"/>
                <a:gd name="T96" fmla="*/ 639 w 2278"/>
                <a:gd name="T97" fmla="*/ 495 h 2940"/>
                <a:gd name="T98" fmla="*/ 555 w 2278"/>
                <a:gd name="T99" fmla="*/ 526 h 2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78" h="2940">
                  <a:moveTo>
                    <a:pt x="555" y="526"/>
                  </a:moveTo>
                  <a:lnTo>
                    <a:pt x="504" y="746"/>
                  </a:lnTo>
                  <a:lnTo>
                    <a:pt x="454" y="964"/>
                  </a:lnTo>
                  <a:lnTo>
                    <a:pt x="405" y="1179"/>
                  </a:lnTo>
                  <a:lnTo>
                    <a:pt x="356" y="1391"/>
                  </a:lnTo>
                  <a:lnTo>
                    <a:pt x="310" y="1595"/>
                  </a:lnTo>
                  <a:lnTo>
                    <a:pt x="264" y="1792"/>
                  </a:lnTo>
                  <a:lnTo>
                    <a:pt x="222" y="1978"/>
                  </a:lnTo>
                  <a:lnTo>
                    <a:pt x="181" y="2153"/>
                  </a:lnTo>
                  <a:lnTo>
                    <a:pt x="144" y="2315"/>
                  </a:lnTo>
                  <a:lnTo>
                    <a:pt x="110" y="2462"/>
                  </a:lnTo>
                  <a:lnTo>
                    <a:pt x="80" y="2593"/>
                  </a:lnTo>
                  <a:lnTo>
                    <a:pt x="54" y="2705"/>
                  </a:lnTo>
                  <a:lnTo>
                    <a:pt x="32" y="2798"/>
                  </a:lnTo>
                  <a:lnTo>
                    <a:pt x="17" y="2869"/>
                  </a:lnTo>
                  <a:lnTo>
                    <a:pt x="5" y="2917"/>
                  </a:lnTo>
                  <a:lnTo>
                    <a:pt x="0" y="2940"/>
                  </a:lnTo>
                  <a:lnTo>
                    <a:pt x="1589" y="2940"/>
                  </a:lnTo>
                  <a:lnTo>
                    <a:pt x="1594" y="2918"/>
                  </a:lnTo>
                  <a:lnTo>
                    <a:pt x="1606" y="2864"/>
                  </a:lnTo>
                  <a:lnTo>
                    <a:pt x="1627" y="2778"/>
                  </a:lnTo>
                  <a:lnTo>
                    <a:pt x="1654" y="2663"/>
                  </a:lnTo>
                  <a:lnTo>
                    <a:pt x="1687" y="2524"/>
                  </a:lnTo>
                  <a:lnTo>
                    <a:pt x="1725" y="2361"/>
                  </a:lnTo>
                  <a:lnTo>
                    <a:pt x="1769" y="2176"/>
                  </a:lnTo>
                  <a:lnTo>
                    <a:pt x="1817" y="1974"/>
                  </a:lnTo>
                  <a:lnTo>
                    <a:pt x="1867" y="1756"/>
                  </a:lnTo>
                  <a:lnTo>
                    <a:pt x="1922" y="1524"/>
                  </a:lnTo>
                  <a:lnTo>
                    <a:pt x="1979" y="1283"/>
                  </a:lnTo>
                  <a:lnTo>
                    <a:pt x="2037" y="1033"/>
                  </a:lnTo>
                  <a:lnTo>
                    <a:pt x="2097" y="777"/>
                  </a:lnTo>
                  <a:lnTo>
                    <a:pt x="2157" y="517"/>
                  </a:lnTo>
                  <a:lnTo>
                    <a:pt x="2218" y="257"/>
                  </a:lnTo>
                  <a:lnTo>
                    <a:pt x="2278" y="0"/>
                  </a:lnTo>
                  <a:lnTo>
                    <a:pt x="2146" y="33"/>
                  </a:lnTo>
                  <a:lnTo>
                    <a:pt x="2016" y="67"/>
                  </a:lnTo>
                  <a:lnTo>
                    <a:pt x="1891" y="100"/>
                  </a:lnTo>
                  <a:lnTo>
                    <a:pt x="1769" y="134"/>
                  </a:lnTo>
                  <a:lnTo>
                    <a:pt x="1650" y="167"/>
                  </a:lnTo>
                  <a:lnTo>
                    <a:pt x="1534" y="201"/>
                  </a:lnTo>
                  <a:lnTo>
                    <a:pt x="1422" y="234"/>
                  </a:lnTo>
                  <a:lnTo>
                    <a:pt x="1313" y="267"/>
                  </a:lnTo>
                  <a:lnTo>
                    <a:pt x="1207" y="300"/>
                  </a:lnTo>
                  <a:lnTo>
                    <a:pt x="1104" y="333"/>
                  </a:lnTo>
                  <a:lnTo>
                    <a:pt x="1005" y="367"/>
                  </a:lnTo>
                  <a:lnTo>
                    <a:pt x="909" y="399"/>
                  </a:lnTo>
                  <a:lnTo>
                    <a:pt x="816" y="431"/>
                  </a:lnTo>
                  <a:lnTo>
                    <a:pt x="726" y="463"/>
                  </a:lnTo>
                  <a:lnTo>
                    <a:pt x="639" y="495"/>
                  </a:lnTo>
                  <a:lnTo>
                    <a:pt x="555" y="52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700212"/>
            <a:ext cx="11520000" cy="43926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Click to edit text. Use the buttons “Increase List Level” and “Decrease List Level” for copytext or bullet levels.</a:t>
            </a:r>
          </a:p>
          <a:p>
            <a:pPr lvl="1"/>
            <a:r>
              <a:rPr lang="de-DE"/>
              <a:t>Level 2</a:t>
            </a:r>
          </a:p>
          <a:p>
            <a:pPr lvl="2"/>
            <a:r>
              <a:rPr lang="de-DE"/>
              <a:t>Level 3</a:t>
            </a:r>
          </a:p>
          <a:p>
            <a:pPr lvl="3"/>
            <a:r>
              <a:rPr lang="de-DE"/>
              <a:t>Level 4</a:t>
            </a:r>
          </a:p>
          <a:p>
            <a:pPr lvl="4"/>
            <a:r>
              <a:rPr lang="de-DE"/>
              <a:t>Level 5</a:t>
            </a:r>
          </a:p>
          <a:p>
            <a:pPr lvl="5"/>
            <a:r>
              <a:rPr lang="de-DE"/>
              <a:t>Level 6</a:t>
            </a:r>
          </a:p>
          <a:p>
            <a:pPr lvl="6"/>
            <a:r>
              <a:rPr lang="de-DE"/>
              <a:t>Level 7</a:t>
            </a:r>
          </a:p>
          <a:p>
            <a:pPr lvl="7"/>
            <a:r>
              <a:rPr lang="de-DE"/>
              <a:t>Level 8</a:t>
            </a:r>
          </a:p>
          <a:p>
            <a:pPr lvl="8"/>
            <a:r>
              <a:rPr lang="de-DE"/>
              <a:t>Level 9</a:t>
            </a:r>
            <a:endParaRPr lang="de-DE" dirty="0"/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4963" y="476672"/>
            <a:ext cx="11521677" cy="7200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Click to edit tit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6816080" y="6453336"/>
            <a:ext cx="4032448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/>
              <a:t>optimal.digital.ista. - Für Sie. Für Unternehmensname.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808032" y="6453336"/>
            <a:ext cx="576000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ct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FF9B0DE-3FEB-4AA0-B465-B80EF7C1333D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25" name="Gruppieren 24"/>
          <p:cNvGrpSpPr/>
          <p:nvPr userDrawn="1"/>
        </p:nvGrpSpPr>
        <p:grpSpPr bwMode="gray">
          <a:xfrm>
            <a:off x="-168688" y="1700808"/>
            <a:ext cx="72000" cy="4392488"/>
            <a:chOff x="-456728" y="1700808"/>
            <a:chExt cx="216000" cy="4392488"/>
          </a:xfrm>
        </p:grpSpPr>
        <p:cxnSp>
          <p:nvCxnSpPr>
            <p:cNvPr id="23" name="Gerader Verbinder 22"/>
            <p:cNvCxnSpPr/>
            <p:nvPr userDrawn="1"/>
          </p:nvCxnSpPr>
          <p:spPr bwMode="gray">
            <a:xfrm>
              <a:off x="-456728" y="1700808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 userDrawn="1"/>
          </p:nvCxnSpPr>
          <p:spPr bwMode="gray">
            <a:xfrm>
              <a:off x="-456728" y="6093296"/>
              <a:ext cx="216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E2E69A7-B6DC-4DCF-9C58-CCFC69EA496F}"/>
              </a:ext>
            </a:extLst>
          </p:cNvPr>
          <p:cNvGrpSpPr/>
          <p:nvPr userDrawn="1"/>
        </p:nvGrpSpPr>
        <p:grpSpPr bwMode="gray">
          <a:xfrm>
            <a:off x="335376" y="-171430"/>
            <a:ext cx="11521266" cy="72016"/>
            <a:chOff x="335376" y="-171430"/>
            <a:chExt cx="11521266" cy="72016"/>
          </a:xfrm>
        </p:grpSpPr>
        <p:grpSp>
          <p:nvGrpSpPr>
            <p:cNvPr id="66" name="Gruppieren 65">
              <a:extLst>
                <a:ext uri="{FF2B5EF4-FFF2-40B4-BE49-F238E27FC236}">
                  <a16:creationId xmlns:a16="http://schemas.microsoft.com/office/drawing/2014/main" id="{00FDB3D0-AA45-4DC1-BA34-B3FEC706C9FF}"/>
                </a:ext>
              </a:extLst>
            </p:cNvPr>
            <p:cNvGrpSpPr/>
            <p:nvPr userDrawn="1"/>
          </p:nvGrpSpPr>
          <p:grpSpPr bwMode="gray">
            <a:xfrm rot="5400000">
              <a:off x="8940313" y="-3015743"/>
              <a:ext cx="72016" cy="5760642"/>
              <a:chOff x="-456773" y="-5427968"/>
              <a:chExt cx="216048" cy="5760642"/>
            </a:xfrm>
          </p:grpSpPr>
          <p:cxnSp>
            <p:nvCxnSpPr>
              <p:cNvPr id="67" name="Gerader Verbinder 66">
                <a:extLst>
                  <a:ext uri="{FF2B5EF4-FFF2-40B4-BE49-F238E27FC236}">
                    <a16:creationId xmlns:a16="http://schemas.microsoft.com/office/drawing/2014/main" id="{FF44B90D-C1CE-4520-A6C7-7E9BED0CA564}"/>
                  </a:ext>
                </a:extLst>
              </p:cNvPr>
              <p:cNvCxnSpPr/>
              <p:nvPr userDrawn="1"/>
            </p:nvCxnSpPr>
            <p:spPr bwMode="gray">
              <a:xfrm>
                <a:off x="-456773" y="-5427968"/>
                <a:ext cx="216001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Gerader Verbinder 67">
                <a:extLst>
                  <a:ext uri="{FF2B5EF4-FFF2-40B4-BE49-F238E27FC236}">
                    <a16:creationId xmlns:a16="http://schemas.microsoft.com/office/drawing/2014/main" id="{E486FD66-0D8C-47A6-843B-FADA70344D1F}"/>
                  </a:ext>
                </a:extLst>
              </p:cNvPr>
              <p:cNvCxnSpPr/>
              <p:nvPr userDrawn="1"/>
            </p:nvCxnSpPr>
            <p:spPr bwMode="gray">
              <a:xfrm>
                <a:off x="-456725" y="332674"/>
                <a:ext cx="21600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9" name="Gerader Verbinder 68">
              <a:extLst>
                <a:ext uri="{FF2B5EF4-FFF2-40B4-BE49-F238E27FC236}">
                  <a16:creationId xmlns:a16="http://schemas.microsoft.com/office/drawing/2014/main" id="{E6BCC9AC-3976-43E8-8B55-CDD8B38B0D33}"/>
                </a:ext>
              </a:extLst>
            </p:cNvPr>
            <p:cNvCxnSpPr/>
            <p:nvPr userDrawn="1"/>
          </p:nvCxnSpPr>
          <p:spPr bwMode="gray">
            <a:xfrm rot="5400000">
              <a:off x="299376" y="-135414"/>
              <a:ext cx="720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6037C19-2C82-4625-B93C-D1983B8EDD19}"/>
              </a:ext>
            </a:extLst>
          </p:cNvPr>
          <p:cNvGrpSpPr/>
          <p:nvPr userDrawn="1"/>
        </p:nvGrpSpPr>
        <p:grpSpPr bwMode="gray">
          <a:xfrm>
            <a:off x="335392" y="-243400"/>
            <a:ext cx="11521216" cy="72000"/>
            <a:chOff x="335392" y="-362160"/>
            <a:chExt cx="11521216" cy="118752"/>
          </a:xfrm>
          <a:solidFill>
            <a:schemeClr val="tx2"/>
          </a:solidFill>
        </p:grpSpPr>
        <p:sp>
          <p:nvSpPr>
            <p:cNvPr id="20" name="Rechteck 4">
              <a:extLst>
                <a:ext uri="{FF2B5EF4-FFF2-40B4-BE49-F238E27FC236}">
                  <a16:creationId xmlns:a16="http://schemas.microsoft.com/office/drawing/2014/main" id="{B8E4974D-797A-4C70-9592-7B489795DE6F}"/>
                </a:ext>
              </a:extLst>
            </p:cNvPr>
            <p:cNvSpPr/>
            <p:nvPr/>
          </p:nvSpPr>
          <p:spPr bwMode="gray">
            <a:xfrm>
              <a:off x="335392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hteck 58">
              <a:extLst>
                <a:ext uri="{FF2B5EF4-FFF2-40B4-BE49-F238E27FC236}">
                  <a16:creationId xmlns:a16="http://schemas.microsoft.com/office/drawing/2014/main" id="{D14E5C0F-FBFE-4EF7-9301-0EFB8C2D4D7B}"/>
                </a:ext>
              </a:extLst>
            </p:cNvPr>
            <p:cNvSpPr/>
            <p:nvPr/>
          </p:nvSpPr>
          <p:spPr bwMode="gray">
            <a:xfrm>
              <a:off x="1343503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hteck 60">
              <a:extLst>
                <a:ext uri="{FF2B5EF4-FFF2-40B4-BE49-F238E27FC236}">
                  <a16:creationId xmlns:a16="http://schemas.microsoft.com/office/drawing/2014/main" id="{08075A41-EE7F-4E2E-A852-84E15CB3DA87}"/>
                </a:ext>
              </a:extLst>
            </p:cNvPr>
            <p:cNvSpPr/>
            <p:nvPr/>
          </p:nvSpPr>
          <p:spPr bwMode="gray">
            <a:xfrm>
              <a:off x="2351614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62">
              <a:extLst>
                <a:ext uri="{FF2B5EF4-FFF2-40B4-BE49-F238E27FC236}">
                  <a16:creationId xmlns:a16="http://schemas.microsoft.com/office/drawing/2014/main" id="{BF61F426-BF58-4A79-A870-E5CF0E574332}"/>
                </a:ext>
              </a:extLst>
            </p:cNvPr>
            <p:cNvSpPr/>
            <p:nvPr/>
          </p:nvSpPr>
          <p:spPr bwMode="gray">
            <a:xfrm>
              <a:off x="3359725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Rechteck 64">
              <a:extLst>
                <a:ext uri="{FF2B5EF4-FFF2-40B4-BE49-F238E27FC236}">
                  <a16:creationId xmlns:a16="http://schemas.microsoft.com/office/drawing/2014/main" id="{1AE91219-6A4B-4087-AA97-35B2707A0082}"/>
                </a:ext>
              </a:extLst>
            </p:cNvPr>
            <p:cNvSpPr/>
            <p:nvPr/>
          </p:nvSpPr>
          <p:spPr bwMode="gray">
            <a:xfrm>
              <a:off x="4367836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66">
              <a:extLst>
                <a:ext uri="{FF2B5EF4-FFF2-40B4-BE49-F238E27FC236}">
                  <a16:creationId xmlns:a16="http://schemas.microsoft.com/office/drawing/2014/main" id="{4190025D-28A1-4871-865F-BB5DEA620951}"/>
                </a:ext>
              </a:extLst>
            </p:cNvPr>
            <p:cNvSpPr/>
            <p:nvPr/>
          </p:nvSpPr>
          <p:spPr bwMode="gray">
            <a:xfrm>
              <a:off x="5375947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hteck 68">
              <a:extLst>
                <a:ext uri="{FF2B5EF4-FFF2-40B4-BE49-F238E27FC236}">
                  <a16:creationId xmlns:a16="http://schemas.microsoft.com/office/drawing/2014/main" id="{22ED910F-F3EB-4F82-9D2D-586BEF39FAE5}"/>
                </a:ext>
              </a:extLst>
            </p:cNvPr>
            <p:cNvSpPr/>
            <p:nvPr/>
          </p:nvSpPr>
          <p:spPr bwMode="gray">
            <a:xfrm>
              <a:off x="6384058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hteck 62">
              <a:extLst>
                <a:ext uri="{FF2B5EF4-FFF2-40B4-BE49-F238E27FC236}">
                  <a16:creationId xmlns:a16="http://schemas.microsoft.com/office/drawing/2014/main" id="{524512B2-0834-4248-9AC4-08A606EA1C3A}"/>
                </a:ext>
              </a:extLst>
            </p:cNvPr>
            <p:cNvSpPr/>
            <p:nvPr/>
          </p:nvSpPr>
          <p:spPr bwMode="gray">
            <a:xfrm>
              <a:off x="7392169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hteck 64">
              <a:extLst>
                <a:ext uri="{FF2B5EF4-FFF2-40B4-BE49-F238E27FC236}">
                  <a16:creationId xmlns:a16="http://schemas.microsoft.com/office/drawing/2014/main" id="{E85E6A45-A66A-4704-ACF8-21CD1CFC1557}"/>
                </a:ext>
              </a:extLst>
            </p:cNvPr>
            <p:cNvSpPr/>
            <p:nvPr/>
          </p:nvSpPr>
          <p:spPr bwMode="gray">
            <a:xfrm>
              <a:off x="8400280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hteck 66">
              <a:extLst>
                <a:ext uri="{FF2B5EF4-FFF2-40B4-BE49-F238E27FC236}">
                  <a16:creationId xmlns:a16="http://schemas.microsoft.com/office/drawing/2014/main" id="{0D410D91-96FE-49B7-A165-341EEC5C2266}"/>
                </a:ext>
              </a:extLst>
            </p:cNvPr>
            <p:cNvSpPr/>
            <p:nvPr/>
          </p:nvSpPr>
          <p:spPr bwMode="gray">
            <a:xfrm>
              <a:off x="9408391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3" name="Rechteck 68">
              <a:extLst>
                <a:ext uri="{FF2B5EF4-FFF2-40B4-BE49-F238E27FC236}">
                  <a16:creationId xmlns:a16="http://schemas.microsoft.com/office/drawing/2014/main" id="{226A06E2-F134-4358-BE8A-7B0CE8FF8CB6}"/>
                </a:ext>
              </a:extLst>
            </p:cNvPr>
            <p:cNvSpPr/>
            <p:nvPr/>
          </p:nvSpPr>
          <p:spPr bwMode="gray">
            <a:xfrm>
              <a:off x="10416502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34" name="Rechteck 68">
              <a:extLst>
                <a:ext uri="{FF2B5EF4-FFF2-40B4-BE49-F238E27FC236}">
                  <a16:creationId xmlns:a16="http://schemas.microsoft.com/office/drawing/2014/main" id="{EE788FE9-3530-4F62-98AB-DADA4B33B64E}"/>
                </a:ext>
              </a:extLst>
            </p:cNvPr>
            <p:cNvSpPr/>
            <p:nvPr/>
          </p:nvSpPr>
          <p:spPr bwMode="gray">
            <a:xfrm>
              <a:off x="11424608" y="-362160"/>
              <a:ext cx="432000" cy="11875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8" name="Textfeld 7">
            <a:extLst>
              <a:ext uri="{FF2B5EF4-FFF2-40B4-BE49-F238E27FC236}">
                <a16:creationId xmlns:a16="http://schemas.microsoft.com/office/drawing/2014/main" id="{85C0078F-CDA9-4D4A-A94D-58BF2D4F94AC}"/>
              </a:ext>
            </a:extLst>
          </p:cNvPr>
          <p:cNvSpPr txBox="1"/>
          <p:nvPr userDrawn="1"/>
        </p:nvSpPr>
        <p:spPr bwMode="gray">
          <a:xfrm>
            <a:off x="407368" y="-142504"/>
            <a:ext cx="2376264" cy="7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lvl="0" indent="0" algn="l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Wingdings 2" panose="05020102010507070707" pitchFamily="18" charset="2"/>
              <a:buNone/>
            </a:pPr>
            <a:r>
              <a:rPr lang="de-DE" sz="600"/>
              <a:t>Markers/docking points for guide lines</a:t>
            </a:r>
            <a:endParaRPr lang="de-DE" sz="600" dirty="0"/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BCDF2DF8-1236-4962-AA06-5E60DE2FC77D}"/>
              </a:ext>
            </a:extLst>
          </p:cNvPr>
          <p:cNvGrpSpPr/>
          <p:nvPr userDrawn="1"/>
        </p:nvGrpSpPr>
        <p:grpSpPr>
          <a:xfrm>
            <a:off x="12373783" y="14553"/>
            <a:ext cx="480483" cy="4516966"/>
            <a:chOff x="12336693" y="14553"/>
            <a:chExt cx="480483" cy="4516966"/>
          </a:xfrm>
        </p:grpSpPr>
        <p:sp>
          <p:nvSpPr>
            <p:cNvPr id="36" name="Rectangle 30">
              <a:extLst>
                <a:ext uri="{FF2B5EF4-FFF2-40B4-BE49-F238E27FC236}">
                  <a16:creationId xmlns:a16="http://schemas.microsoft.com/office/drawing/2014/main" id="{890499AA-3B64-4C59-AEAB-8709F44B590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3473185"/>
              <a:ext cx="480483" cy="480483"/>
            </a:xfrm>
            <a:prstGeom prst="rect">
              <a:avLst/>
            </a:prstGeom>
            <a:solidFill>
              <a:srgbClr val="F7CF66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47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07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02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7" name="Rectangle 31">
              <a:extLst>
                <a:ext uri="{FF2B5EF4-FFF2-40B4-BE49-F238E27FC236}">
                  <a16:creationId xmlns:a16="http://schemas.microsoft.com/office/drawing/2014/main" id="{6BC62E58-2025-49C4-AA3E-39F1EDC7DCDF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4051035"/>
              <a:ext cx="480483" cy="480484"/>
            </a:xfrm>
            <a:prstGeom prst="rect">
              <a:avLst/>
            </a:prstGeom>
            <a:solidFill>
              <a:srgbClr val="FADF99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5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23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53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8" name="Rectangle 24">
              <a:extLst>
                <a:ext uri="{FF2B5EF4-FFF2-40B4-BE49-F238E27FC236}">
                  <a16:creationId xmlns:a16="http://schemas.microsoft.com/office/drawing/2014/main" id="{C0D52B1B-402B-4133-A73E-1F5D862F2996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14553"/>
              <a:ext cx="480483" cy="480484"/>
            </a:xfrm>
            <a:prstGeom prst="rect">
              <a:avLst/>
            </a:prstGeom>
            <a:solidFill>
              <a:srgbClr val="E63F0C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23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63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12</a:t>
              </a:r>
              <a:endParaRPr lang="de-DE" sz="320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9" name="Rectangle 25">
              <a:extLst>
                <a:ext uri="{FF2B5EF4-FFF2-40B4-BE49-F238E27FC236}">
                  <a16:creationId xmlns:a16="http://schemas.microsoft.com/office/drawing/2014/main" id="{3F9AB7A6-54EE-4D6A-9CD5-34773E50708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590286"/>
              <a:ext cx="480483" cy="480484"/>
            </a:xfrm>
            <a:prstGeom prst="rect">
              <a:avLst/>
            </a:prstGeom>
            <a:solidFill>
              <a:srgbClr val="EB653D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23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101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61</a:t>
              </a:r>
              <a:endParaRPr lang="de-DE" sz="320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0" name="Rectangle 26">
              <a:extLst>
                <a:ext uri="{FF2B5EF4-FFF2-40B4-BE49-F238E27FC236}">
                  <a16:creationId xmlns:a16="http://schemas.microsoft.com/office/drawing/2014/main" id="{57B0F84E-3881-49B6-8DB9-7AF0699D9EA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1168136"/>
              <a:ext cx="480483" cy="480483"/>
            </a:xfrm>
            <a:prstGeom prst="rect">
              <a:avLst/>
            </a:prstGeom>
            <a:solidFill>
              <a:srgbClr val="F08C6D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4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4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09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1" name="Rectangle 27">
              <a:extLst>
                <a:ext uri="{FF2B5EF4-FFF2-40B4-BE49-F238E27FC236}">
                  <a16:creationId xmlns:a16="http://schemas.microsoft.com/office/drawing/2014/main" id="{436A6DFC-5901-4886-BA30-5089BCD57AF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1743869"/>
              <a:ext cx="480483" cy="480483"/>
            </a:xfrm>
            <a:prstGeom prst="rect">
              <a:avLst/>
            </a:prstGeom>
            <a:solidFill>
              <a:srgbClr val="F5B29E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4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78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58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2" name="Rectangle 28">
              <a:extLst>
                <a:ext uri="{FF2B5EF4-FFF2-40B4-BE49-F238E27FC236}">
                  <a16:creationId xmlns:a16="http://schemas.microsoft.com/office/drawing/2014/main" id="{557DDA64-C596-428A-8926-ED63A060C722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2321719"/>
              <a:ext cx="480483" cy="480484"/>
            </a:xfrm>
            <a:prstGeom prst="rect">
              <a:avLst/>
            </a:prstGeom>
            <a:solidFill>
              <a:srgbClr val="F2A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 dirty="0">
                  <a:solidFill>
                    <a:prstClr val="black"/>
                  </a:solidFill>
                  <a:latin typeface="Arial"/>
                </a:rPr>
                <a:t>242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 dirty="0">
                  <a:solidFill>
                    <a:prstClr val="black"/>
                  </a:solidFill>
                  <a:latin typeface="Arial"/>
                </a:rPr>
                <a:t>17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 dirty="0">
                  <a:solidFill>
                    <a:prstClr val="black"/>
                  </a:solidFill>
                  <a:latin typeface="Arial"/>
                </a:rPr>
                <a:t>0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3" name="Rectangle 29">
              <a:extLst>
                <a:ext uri="{FF2B5EF4-FFF2-40B4-BE49-F238E27FC236}">
                  <a16:creationId xmlns:a16="http://schemas.microsoft.com/office/drawing/2014/main" id="{ADEF6DE2-A905-4298-AEF0-A1863AE333E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2336693" y="2897453"/>
              <a:ext cx="480483" cy="480484"/>
            </a:xfrm>
            <a:prstGeom prst="rect">
              <a:avLst/>
            </a:prstGeom>
            <a:solidFill>
              <a:srgbClr val="F5BF33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4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91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51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E2565C2D-1780-47C1-A3FD-9D83BA0241F1}"/>
              </a:ext>
            </a:extLst>
          </p:cNvPr>
          <p:cNvGrpSpPr/>
          <p:nvPr userDrawn="1"/>
        </p:nvGrpSpPr>
        <p:grpSpPr>
          <a:xfrm>
            <a:off x="-672752" y="-9525"/>
            <a:ext cx="490572" cy="6794663"/>
            <a:chOff x="-629885" y="-9525"/>
            <a:chExt cx="490572" cy="6794663"/>
          </a:xfrm>
        </p:grpSpPr>
        <p:sp>
          <p:nvSpPr>
            <p:cNvPr id="45" name="Rectangle 23">
              <a:extLst>
                <a:ext uri="{FF2B5EF4-FFF2-40B4-BE49-F238E27FC236}">
                  <a16:creationId xmlns:a16="http://schemas.microsoft.com/office/drawing/2014/main" id="{CC9AF601-8FBB-42E8-85BA-E1B24323AC1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9509" y="6304655"/>
              <a:ext cx="480483" cy="480483"/>
            </a:xfrm>
            <a:prstGeom prst="rect">
              <a:avLst/>
            </a:prstGeom>
            <a:solidFill>
              <a:srgbClr val="CEE199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06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2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53</a:t>
              </a:r>
              <a:endParaRPr lang="de-DE" sz="1067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6" name="Rectangle 22">
              <a:extLst>
                <a:ext uri="{FF2B5EF4-FFF2-40B4-BE49-F238E27FC236}">
                  <a16:creationId xmlns:a16="http://schemas.microsoft.com/office/drawing/2014/main" id="{0133DDE4-1DC0-4CF5-B48E-CB5DB7E147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9885" y="5733684"/>
              <a:ext cx="480483" cy="480483"/>
            </a:xfrm>
            <a:prstGeom prst="rect">
              <a:avLst/>
            </a:prstGeom>
            <a:solidFill>
              <a:srgbClr val="B5D266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81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1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02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7" name="Rectangle 21">
              <a:extLst>
                <a:ext uri="{FF2B5EF4-FFF2-40B4-BE49-F238E27FC236}">
                  <a16:creationId xmlns:a16="http://schemas.microsoft.com/office/drawing/2014/main" id="{0E16E8FD-947F-4CC6-8DAC-3BFE854234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9885" y="5185822"/>
              <a:ext cx="480483" cy="480484"/>
            </a:xfrm>
            <a:prstGeom prst="rect">
              <a:avLst/>
            </a:prstGeom>
            <a:solidFill>
              <a:srgbClr val="9DC333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57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9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51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8" name="Rectangle 20">
              <a:extLst>
                <a:ext uri="{FF2B5EF4-FFF2-40B4-BE49-F238E27FC236}">
                  <a16:creationId xmlns:a16="http://schemas.microsoft.com/office/drawing/2014/main" id="{B5FAADB0-A7BE-4694-BCAB-486AB456EFE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9885" y="4610088"/>
              <a:ext cx="480483" cy="480484"/>
            </a:xfrm>
            <a:prstGeom prst="rect">
              <a:avLst/>
            </a:prstGeom>
            <a:solidFill>
              <a:srgbClr val="84B400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32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8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0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9" name="Rectangle 16">
              <a:extLst>
                <a:ext uri="{FF2B5EF4-FFF2-40B4-BE49-F238E27FC236}">
                  <a16:creationId xmlns:a16="http://schemas.microsoft.com/office/drawing/2014/main" id="{F7A19CCE-2A7F-490B-9739-EF1ED49858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606448"/>
              <a:ext cx="480483" cy="480484"/>
            </a:xfrm>
            <a:prstGeom prst="rect">
              <a:avLst/>
            </a:prstGeom>
            <a:solidFill>
              <a:srgbClr val="0A2864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1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4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100</a:t>
              </a:r>
              <a:endParaRPr lang="de-DE" sz="1067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0" name="Rectangle 17">
              <a:extLst>
                <a:ext uri="{FF2B5EF4-FFF2-40B4-BE49-F238E27FC236}">
                  <a16:creationId xmlns:a16="http://schemas.microsoft.com/office/drawing/2014/main" id="{F7CC265A-4E59-4EFF-AAF7-8CDB153E35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1182181"/>
              <a:ext cx="480483" cy="4804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57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120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1" name="Rectangle 18">
              <a:extLst>
                <a:ext uri="{FF2B5EF4-FFF2-40B4-BE49-F238E27FC236}">
                  <a16:creationId xmlns:a16="http://schemas.microsoft.com/office/drawing/2014/main" id="{C1C9D2AD-FAAF-4208-B9D8-B52A080BA5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1760032"/>
              <a:ext cx="480483" cy="48048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8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white"/>
                  </a:solidFill>
                  <a:latin typeface="Arial"/>
                </a:rPr>
                <a:t>180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2" name="Rectangle 19">
              <a:extLst>
                <a:ext uri="{FF2B5EF4-FFF2-40B4-BE49-F238E27FC236}">
                  <a16:creationId xmlns:a16="http://schemas.microsoft.com/office/drawing/2014/main" id="{0EE18E55-9F33-4436-B5E4-23FAD69CF7F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2335765"/>
              <a:ext cx="480483" cy="48048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0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13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40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3" name="Rectangle 20">
              <a:extLst>
                <a:ext uri="{FF2B5EF4-FFF2-40B4-BE49-F238E27FC236}">
                  <a16:creationId xmlns:a16="http://schemas.microsoft.com/office/drawing/2014/main" id="{42707F3C-FD97-419E-8A89-4754EA287E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3471156"/>
              <a:ext cx="480483" cy="48048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86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18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52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4" name="Rectangle 19">
              <a:extLst>
                <a:ext uri="{FF2B5EF4-FFF2-40B4-BE49-F238E27FC236}">
                  <a16:creationId xmlns:a16="http://schemas.microsoft.com/office/drawing/2014/main" id="{9A03A951-B6E2-46F1-A06E-C949DBF834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4747" y="2913415"/>
              <a:ext cx="480483" cy="480483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28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184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48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55" name="Rectangle 16">
              <a:extLst>
                <a:ext uri="{FF2B5EF4-FFF2-40B4-BE49-F238E27FC236}">
                  <a16:creationId xmlns:a16="http://schemas.microsoft.com/office/drawing/2014/main" id="{3A4B18EE-1D0A-43D0-9049-722FFAF993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19796" y="-9525"/>
              <a:ext cx="480483" cy="480484"/>
            </a:xfrm>
            <a:prstGeom prst="rect">
              <a:avLst/>
            </a:prstGeom>
            <a:solidFill>
              <a:srgbClr val="D7D7D7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srgbClr val="000000"/>
                  </a:solidFill>
                  <a:latin typeface="Arial"/>
                </a:rPr>
                <a:t>21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srgbClr val="000000"/>
                  </a:solidFill>
                  <a:latin typeface="Arial"/>
                </a:rPr>
                <a:t>21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srgbClr val="000000"/>
                  </a:solidFill>
                  <a:latin typeface="Arial"/>
                </a:rPr>
                <a:t>215</a:t>
              </a:r>
              <a:endParaRPr lang="de-DE" sz="106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6" name="Rectangle 20">
              <a:extLst>
                <a:ext uri="{FF2B5EF4-FFF2-40B4-BE49-F238E27FC236}">
                  <a16:creationId xmlns:a16="http://schemas.microsoft.com/office/drawing/2014/main" id="{EC903293-F3D3-4D0A-8668-B4F2B6769E5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-628302" y="4042517"/>
              <a:ext cx="480483" cy="480484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txBody>
            <a:bodyPr wrap="none" anchor="ctr"/>
            <a:lstStyle/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19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35</a:t>
              </a:r>
            </a:p>
            <a:p>
              <a:pPr algn="ctr" defTabSz="1219170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067">
                  <a:solidFill>
                    <a:prstClr val="black"/>
                  </a:solidFill>
                  <a:latin typeface="Arial"/>
                </a:rPr>
                <a:t>253</a:t>
              </a:r>
              <a:endParaRPr lang="de-DE" sz="3200" dirty="0">
                <a:solidFill>
                  <a:prstClr val="black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861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649" r:id="rId2"/>
    <p:sldLayoutId id="2147483680" r:id="rId3"/>
    <p:sldLayoutId id="2147483682" r:id="rId4"/>
    <p:sldLayoutId id="2147483650" r:id="rId5"/>
    <p:sldLayoutId id="2147483652" r:id="rId6"/>
    <p:sldLayoutId id="2147483663" r:id="rId7"/>
    <p:sldLayoutId id="2147483659" r:id="rId8"/>
    <p:sldLayoutId id="2147483656" r:id="rId9"/>
    <p:sldLayoutId id="2147483708" r:id="rId10"/>
    <p:sldLayoutId id="2147483657" r:id="rId11"/>
    <p:sldLayoutId id="2147483654" r:id="rId12"/>
    <p:sldLayoutId id="2147483655" r:id="rId13"/>
    <p:sldLayoutId id="2147483712" r:id="rId14"/>
    <p:sldLayoutId id="2147483713" r:id="rId15"/>
    <p:sldLayoutId id="2147483754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>
          <a:schemeClr val="bg2"/>
        </a:buClr>
        <a:buSzPct val="100000"/>
        <a:buFont typeface="Wingdings 2" panose="05020102010507070707" pitchFamily="18" charset="2"/>
        <a:buChar char="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31800" indent="-2159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200"/>
        </a:spcBef>
        <a:spcAft>
          <a:spcPts val="0"/>
        </a:spcAft>
        <a:buClr>
          <a:schemeClr val="bg2"/>
        </a:buClr>
        <a:buFont typeface="Wingdings 2" panose="05020102010507070707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427239170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26" imgW="6350000" imgH="6350000" progId="TCLayout.ActiveDocument.1">
                  <p:embed/>
                </p:oleObj>
              </mc:Choice>
              <mc:Fallback>
                <p:oleObj name="think-cell Slide" r:id="rId26" imgW="6350000" imgH="635000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/>
          <p:cNvSpPr/>
          <p:nvPr userDrawn="1">
            <p:custDataLst>
              <p:tags r:id="rId23"/>
            </p:custDataLst>
          </p:nvPr>
        </p:nvSpPr>
        <p:spPr bwMode="auto">
          <a:xfrm>
            <a:off x="2" y="0"/>
            <a:ext cx="158751" cy="1587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5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200154" y="5"/>
            <a:ext cx="10079567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/>
              <a:t>Titelmasterformat durch Klicken bearbeiten</a:t>
            </a:r>
            <a:endParaRPr lang="en-US" altLang="de-DE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1200154" y="1412874"/>
            <a:ext cx="10079567" cy="4645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/>
              <a:t>Textmasterformate durch Klicken bearbeiten</a:t>
            </a:r>
          </a:p>
          <a:p>
            <a:pPr lvl="1"/>
            <a:r>
              <a:rPr lang="en-US" altLang="de-DE" noProof="0"/>
              <a:t>Zweite Ebene</a:t>
            </a:r>
          </a:p>
          <a:p>
            <a:pPr lvl="2"/>
            <a:r>
              <a:rPr lang="en-US" altLang="de-DE" noProof="0"/>
              <a:t>Dritte Ebene</a:t>
            </a:r>
          </a:p>
          <a:p>
            <a:pPr lvl="3"/>
            <a:r>
              <a:rPr lang="en-US" altLang="de-DE" noProof="0"/>
              <a:t>Vierte Ebene</a:t>
            </a:r>
          </a:p>
          <a:p>
            <a:pPr lvl="4"/>
            <a:r>
              <a:rPr lang="en-US" altLang="de-DE" noProof="0"/>
              <a:t>Fünfte Ebene</a:t>
            </a:r>
          </a:p>
          <a:p>
            <a:pPr lvl="5"/>
            <a:r>
              <a:rPr lang="en-US" altLang="de-DE" noProof="0"/>
              <a:t>Sechste Ebene</a:t>
            </a:r>
          </a:p>
          <a:p>
            <a:pPr lvl="6"/>
            <a:r>
              <a:rPr lang="en-US" altLang="de-DE" noProof="0"/>
              <a:t>Siebte Ebene</a:t>
            </a:r>
            <a:endParaRPr lang="en-US" altLang="de-DE" noProof="0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4" y="4375142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6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Inside Talk</a:t>
            </a:r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3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hlink"/>
                </a:solidFill>
              </a:defRPr>
            </a:lvl1pPr>
          </a:lstStyle>
          <a:p>
            <a:r>
              <a:rPr lang="en-US" altLang="de-DE">
                <a:solidFill>
                  <a:srgbClr val="3B5383"/>
                </a:solidFill>
              </a:rPr>
              <a:t>Folie </a:t>
            </a:r>
            <a:fld id="{C3B3C88A-3FAA-40A8-AD7B-A50BF5BD6E58}" type="slidenum">
              <a:rPr lang="en-US" altLang="de-DE" smtClean="0">
                <a:solidFill>
                  <a:srgbClr val="3B5383"/>
                </a:solidFill>
              </a:rPr>
              <a:pPr/>
              <a:t>‹#›</a:t>
            </a:fld>
            <a:endParaRPr lang="en-US" altLang="de-DE" dirty="0">
              <a:solidFill>
                <a:srgbClr val="3B5383"/>
              </a:solidFill>
            </a:endParaRPr>
          </a:p>
        </p:txBody>
      </p:sp>
      <p:sp>
        <p:nvSpPr>
          <p:cNvPr id="7" name="Rectangle 30"/>
          <p:cNvSpPr>
            <a:spLocks noChangeArrowheads="1"/>
          </p:cNvSpPr>
          <p:nvPr/>
        </p:nvSpPr>
        <p:spPr bwMode="gray">
          <a:xfrm>
            <a:off x="12336693" y="2604889"/>
            <a:ext cx="480483" cy="360362"/>
          </a:xfrm>
          <a:prstGeom prst="rect">
            <a:avLst/>
          </a:prstGeom>
          <a:solidFill>
            <a:srgbClr val="F7CF66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47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07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02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8" name="Rectangle 31"/>
          <p:cNvSpPr>
            <a:spLocks noChangeArrowheads="1"/>
          </p:cNvSpPr>
          <p:nvPr/>
        </p:nvSpPr>
        <p:spPr bwMode="gray">
          <a:xfrm>
            <a:off x="12336693" y="3038281"/>
            <a:ext cx="480483" cy="360363"/>
          </a:xfrm>
          <a:prstGeom prst="rect">
            <a:avLst/>
          </a:prstGeom>
          <a:solidFill>
            <a:srgbClr val="FADF99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50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23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53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12336693" y="10919"/>
            <a:ext cx="480483" cy="360363"/>
          </a:xfrm>
          <a:prstGeom prst="rect">
            <a:avLst/>
          </a:prstGeom>
          <a:solidFill>
            <a:srgbClr val="E63F0C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230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63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12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0" name="Rectangle 25"/>
          <p:cNvSpPr>
            <a:spLocks noChangeArrowheads="1"/>
          </p:cNvSpPr>
          <p:nvPr/>
        </p:nvSpPr>
        <p:spPr bwMode="gray">
          <a:xfrm>
            <a:off x="12336693" y="442719"/>
            <a:ext cx="480483" cy="360363"/>
          </a:xfrm>
          <a:prstGeom prst="rect">
            <a:avLst/>
          </a:prstGeom>
          <a:solidFill>
            <a:srgbClr val="EB653D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235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101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61</a:t>
            </a: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Rectangle 26"/>
          <p:cNvSpPr>
            <a:spLocks noChangeArrowheads="1"/>
          </p:cNvSpPr>
          <p:nvPr/>
        </p:nvSpPr>
        <p:spPr bwMode="gray">
          <a:xfrm>
            <a:off x="12336693" y="876102"/>
            <a:ext cx="480483" cy="360362"/>
          </a:xfrm>
          <a:prstGeom prst="rect">
            <a:avLst/>
          </a:prstGeom>
          <a:solidFill>
            <a:srgbClr val="F08C6D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40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40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09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2" name="Rectangle 27"/>
          <p:cNvSpPr>
            <a:spLocks noChangeArrowheads="1"/>
          </p:cNvSpPr>
          <p:nvPr/>
        </p:nvSpPr>
        <p:spPr bwMode="gray">
          <a:xfrm>
            <a:off x="12336693" y="1307902"/>
            <a:ext cx="480483" cy="360362"/>
          </a:xfrm>
          <a:prstGeom prst="rect">
            <a:avLst/>
          </a:prstGeom>
          <a:solidFill>
            <a:srgbClr val="F5B29E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45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78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58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3" name="Rectangle 28"/>
          <p:cNvSpPr>
            <a:spLocks noChangeArrowheads="1"/>
          </p:cNvSpPr>
          <p:nvPr/>
        </p:nvSpPr>
        <p:spPr bwMode="gray">
          <a:xfrm>
            <a:off x="12336693" y="1741292"/>
            <a:ext cx="480483" cy="360363"/>
          </a:xfrm>
          <a:prstGeom prst="rect">
            <a:avLst/>
          </a:prstGeom>
          <a:solidFill>
            <a:srgbClr val="F2AF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42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75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0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4" name="Rectangle 29"/>
          <p:cNvSpPr>
            <a:spLocks noChangeArrowheads="1"/>
          </p:cNvSpPr>
          <p:nvPr/>
        </p:nvSpPr>
        <p:spPr bwMode="gray">
          <a:xfrm>
            <a:off x="12336693" y="2173094"/>
            <a:ext cx="480483" cy="360363"/>
          </a:xfrm>
          <a:prstGeom prst="rect">
            <a:avLst/>
          </a:prstGeom>
          <a:solidFill>
            <a:srgbClr val="F5BF33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45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91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51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5" name="Rectangle 16"/>
          <p:cNvSpPr>
            <a:spLocks noChangeArrowheads="1"/>
          </p:cNvSpPr>
          <p:nvPr/>
        </p:nvSpPr>
        <p:spPr bwMode="auto">
          <a:xfrm>
            <a:off x="-624747" y="-12105"/>
            <a:ext cx="480483" cy="360363"/>
          </a:xfrm>
          <a:prstGeom prst="rect">
            <a:avLst/>
          </a:prstGeom>
          <a:solidFill>
            <a:srgbClr val="0A2864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10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40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100</a:t>
            </a: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16" name="Rectangle 17"/>
          <p:cNvSpPr>
            <a:spLocks noChangeArrowheads="1"/>
          </p:cNvSpPr>
          <p:nvPr/>
        </p:nvSpPr>
        <p:spPr bwMode="auto">
          <a:xfrm>
            <a:off x="-624747" y="419700"/>
            <a:ext cx="480483" cy="360363"/>
          </a:xfrm>
          <a:prstGeom prst="rect">
            <a:avLst/>
          </a:prstGeom>
          <a:solidFill>
            <a:srgbClr val="3B5383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59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83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131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auto">
          <a:xfrm>
            <a:off x="-624747" y="853084"/>
            <a:ext cx="480483" cy="360363"/>
          </a:xfrm>
          <a:prstGeom prst="rect">
            <a:avLst/>
          </a:prstGeom>
          <a:solidFill>
            <a:srgbClr val="6C7EA2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FFFFFF"/>
                </a:solidFill>
              </a:rPr>
              <a:t>108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126</a:t>
            </a:r>
          </a:p>
          <a:p>
            <a:pPr algn="ctr"/>
            <a:r>
              <a:rPr lang="en-US" sz="600">
                <a:solidFill>
                  <a:srgbClr val="FFFFFF"/>
                </a:solidFill>
              </a:rPr>
              <a:t>162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-624747" y="1284888"/>
            <a:ext cx="480483" cy="360363"/>
          </a:xfrm>
          <a:prstGeom prst="rect">
            <a:avLst/>
          </a:prstGeom>
          <a:solidFill>
            <a:srgbClr val="9DA9C4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157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69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96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auto">
          <a:xfrm>
            <a:off x="-624747" y="2564413"/>
            <a:ext cx="480483" cy="360363"/>
          </a:xfrm>
          <a:prstGeom prst="rect">
            <a:avLst/>
          </a:prstGeom>
          <a:solidFill>
            <a:srgbClr val="84B400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132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80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0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0" name="Rectangle 21"/>
          <p:cNvSpPr>
            <a:spLocks noChangeArrowheads="1"/>
          </p:cNvSpPr>
          <p:nvPr/>
        </p:nvSpPr>
        <p:spPr bwMode="auto">
          <a:xfrm>
            <a:off x="-624747" y="2996213"/>
            <a:ext cx="480483" cy="360363"/>
          </a:xfrm>
          <a:prstGeom prst="rect">
            <a:avLst/>
          </a:prstGeom>
          <a:solidFill>
            <a:srgbClr val="9DC333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157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95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51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1" name="Rectangle 22"/>
          <p:cNvSpPr>
            <a:spLocks noChangeArrowheads="1"/>
          </p:cNvSpPr>
          <p:nvPr/>
        </p:nvSpPr>
        <p:spPr bwMode="auto">
          <a:xfrm>
            <a:off x="-624747" y="3429596"/>
            <a:ext cx="480483" cy="360362"/>
          </a:xfrm>
          <a:prstGeom prst="rect">
            <a:avLst/>
          </a:prstGeom>
          <a:solidFill>
            <a:srgbClr val="B5D266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181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10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02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-624747" y="3861396"/>
            <a:ext cx="480483" cy="360362"/>
          </a:xfrm>
          <a:prstGeom prst="rect">
            <a:avLst/>
          </a:prstGeom>
          <a:solidFill>
            <a:srgbClr val="CEE199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06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25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153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23" name="Rectangle 18"/>
          <p:cNvSpPr>
            <a:spLocks noChangeArrowheads="1"/>
          </p:cNvSpPr>
          <p:nvPr/>
        </p:nvSpPr>
        <p:spPr bwMode="auto">
          <a:xfrm>
            <a:off x="-612047" y="1697635"/>
            <a:ext cx="480483" cy="360363"/>
          </a:xfrm>
          <a:prstGeom prst="rect">
            <a:avLst/>
          </a:prstGeom>
          <a:solidFill>
            <a:srgbClr val="CED4E0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06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12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24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4" name="Rectangle 19"/>
          <p:cNvSpPr>
            <a:spLocks noChangeArrowheads="1"/>
          </p:cNvSpPr>
          <p:nvPr/>
        </p:nvSpPr>
        <p:spPr bwMode="auto">
          <a:xfrm>
            <a:off x="-624747" y="2124671"/>
            <a:ext cx="480483" cy="360362"/>
          </a:xfrm>
          <a:prstGeom prst="rect">
            <a:avLst/>
          </a:prstGeom>
          <a:solidFill>
            <a:srgbClr val="E6E9EF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30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33	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39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5" name="Rectangle 23"/>
          <p:cNvSpPr>
            <a:spLocks noChangeArrowheads="1"/>
          </p:cNvSpPr>
          <p:nvPr/>
        </p:nvSpPr>
        <p:spPr bwMode="auto">
          <a:xfrm>
            <a:off x="-624747" y="4328716"/>
            <a:ext cx="480483" cy="360362"/>
          </a:xfrm>
          <a:prstGeom prst="rect">
            <a:avLst/>
          </a:prstGeom>
          <a:solidFill>
            <a:srgbClr val="E6F0C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30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40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04</a:t>
            </a: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26" name="Rectangle 23"/>
          <p:cNvSpPr>
            <a:spLocks noChangeArrowheads="1"/>
          </p:cNvSpPr>
          <p:nvPr/>
        </p:nvSpPr>
        <p:spPr bwMode="auto">
          <a:xfrm>
            <a:off x="-624747" y="4778178"/>
            <a:ext cx="480483" cy="360362"/>
          </a:xfrm>
          <a:prstGeom prst="rect">
            <a:avLst/>
          </a:prstGeom>
          <a:solidFill>
            <a:srgbClr val="F2F7E5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en-US" sz="600">
                <a:solidFill>
                  <a:srgbClr val="000000"/>
                </a:solidFill>
              </a:rPr>
              <a:t>242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47</a:t>
            </a:r>
          </a:p>
          <a:p>
            <a:pPr algn="ctr"/>
            <a:r>
              <a:rPr lang="en-US" sz="600">
                <a:solidFill>
                  <a:srgbClr val="000000"/>
                </a:solidFill>
              </a:rPr>
              <a:t>229</a:t>
            </a:r>
            <a:endParaRPr lang="en-US" sz="600" dirty="0">
              <a:solidFill>
                <a:srgbClr val="000000"/>
              </a:solidFill>
            </a:endParaRPr>
          </a:p>
        </p:txBody>
      </p:sp>
      <p:grpSp>
        <p:nvGrpSpPr>
          <p:cNvPr id="28" name="Gruppieren 13">
            <a:extLst>
              <a:ext uri="{FF2B5EF4-FFF2-40B4-BE49-F238E27FC236}">
                <a16:creationId xmlns:a16="http://schemas.microsoft.com/office/drawing/2014/main" id="{9B533589-4BE1-4761-9C4C-A2C77BCF8159}"/>
              </a:ext>
            </a:extLst>
          </p:cNvPr>
          <p:cNvGrpSpPr/>
          <p:nvPr userDrawn="1"/>
        </p:nvGrpSpPr>
        <p:grpSpPr bwMode="gray">
          <a:xfrm>
            <a:off x="11159933" y="6155804"/>
            <a:ext cx="595952" cy="261497"/>
            <a:chOff x="7205663" y="-2159000"/>
            <a:chExt cx="3617912" cy="1587500"/>
          </a:xfrm>
        </p:grpSpPr>
        <p:sp>
          <p:nvSpPr>
            <p:cNvPr id="29" name="Freeform 5">
              <a:extLst>
                <a:ext uri="{FF2B5EF4-FFF2-40B4-BE49-F238E27FC236}">
                  <a16:creationId xmlns:a16="http://schemas.microsoft.com/office/drawing/2014/main" id="{AAC58153-D965-4520-85AD-811DBADC904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404100" y="-1800225"/>
              <a:ext cx="449262" cy="350838"/>
            </a:xfrm>
            <a:custGeom>
              <a:avLst/>
              <a:gdLst>
                <a:gd name="T0" fmla="*/ 119 w 141"/>
                <a:gd name="T1" fmla="*/ 95 h 110"/>
                <a:gd name="T2" fmla="*/ 141 w 141"/>
                <a:gd name="T3" fmla="*/ 1 h 110"/>
                <a:gd name="T4" fmla="*/ 25 w 141"/>
                <a:gd name="T5" fmla="*/ 0 h 110"/>
                <a:gd name="T6" fmla="*/ 0 w 141"/>
                <a:gd name="T7" fmla="*/ 110 h 110"/>
                <a:gd name="T8" fmla="*/ 119 w 141"/>
                <a:gd name="T9" fmla="*/ 9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10">
                  <a:moveTo>
                    <a:pt x="119" y="95"/>
                  </a:moveTo>
                  <a:cubicBezTo>
                    <a:pt x="132" y="41"/>
                    <a:pt x="141" y="1"/>
                    <a:pt x="141" y="1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14" y="48"/>
                    <a:pt x="0" y="110"/>
                  </a:cubicBezTo>
                  <a:cubicBezTo>
                    <a:pt x="36" y="105"/>
                    <a:pt x="76" y="100"/>
                    <a:pt x="119" y="95"/>
                  </a:cubicBezTo>
                  <a:close/>
                </a:path>
              </a:pathLst>
            </a:custGeom>
            <a:solidFill>
              <a:srgbClr val="84B4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1" name="Freeform 6">
              <a:extLst>
                <a:ext uri="{FF2B5EF4-FFF2-40B4-BE49-F238E27FC236}">
                  <a16:creationId xmlns:a16="http://schemas.microsoft.com/office/drawing/2014/main" id="{9A3C819B-4480-4B08-B8DB-9390CFA7DA9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989888" y="-1811338"/>
              <a:ext cx="823912" cy="295275"/>
            </a:xfrm>
            <a:custGeom>
              <a:avLst/>
              <a:gdLst>
                <a:gd name="T0" fmla="*/ 79 w 258"/>
                <a:gd name="T1" fmla="*/ 85 h 92"/>
                <a:gd name="T2" fmla="*/ 243 w 258"/>
                <a:gd name="T3" fmla="*/ 79 h 92"/>
                <a:gd name="T4" fmla="*/ 258 w 258"/>
                <a:gd name="T5" fmla="*/ 6 h 92"/>
                <a:gd name="T6" fmla="*/ 162 w 258"/>
                <a:gd name="T7" fmla="*/ 1 h 92"/>
                <a:gd name="T8" fmla="*/ 0 w 258"/>
                <a:gd name="T9" fmla="*/ 92 h 92"/>
                <a:gd name="T10" fmla="*/ 79 w 258"/>
                <a:gd name="T11" fmla="*/ 8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8" h="92">
                  <a:moveTo>
                    <a:pt x="79" y="85"/>
                  </a:moveTo>
                  <a:cubicBezTo>
                    <a:pt x="109" y="82"/>
                    <a:pt x="169" y="80"/>
                    <a:pt x="243" y="79"/>
                  </a:cubicBezTo>
                  <a:cubicBezTo>
                    <a:pt x="250" y="48"/>
                    <a:pt x="258" y="6"/>
                    <a:pt x="258" y="6"/>
                  </a:cubicBezTo>
                  <a:cubicBezTo>
                    <a:pt x="258" y="6"/>
                    <a:pt x="228" y="0"/>
                    <a:pt x="162" y="1"/>
                  </a:cubicBezTo>
                  <a:cubicBezTo>
                    <a:pt x="80" y="3"/>
                    <a:pt x="20" y="42"/>
                    <a:pt x="0" y="92"/>
                  </a:cubicBezTo>
                  <a:cubicBezTo>
                    <a:pt x="26" y="89"/>
                    <a:pt x="52" y="87"/>
                    <a:pt x="79" y="85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649B31A1-519D-4C3C-9266-CDC035E30D2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024938" y="-2159000"/>
              <a:ext cx="663575" cy="593725"/>
            </a:xfrm>
            <a:custGeom>
              <a:avLst/>
              <a:gdLst>
                <a:gd name="T0" fmla="*/ 192 w 208"/>
                <a:gd name="T1" fmla="*/ 184 h 186"/>
                <a:gd name="T2" fmla="*/ 208 w 208"/>
                <a:gd name="T3" fmla="*/ 113 h 186"/>
                <a:gd name="T4" fmla="*/ 136 w 208"/>
                <a:gd name="T5" fmla="*/ 113 h 186"/>
                <a:gd name="T6" fmla="*/ 162 w 208"/>
                <a:gd name="T7" fmla="*/ 0 h 186"/>
                <a:gd name="T8" fmla="*/ 37 w 208"/>
                <a:gd name="T9" fmla="*/ 24 h 186"/>
                <a:gd name="T10" fmla="*/ 0 w 208"/>
                <a:gd name="T11" fmla="*/ 186 h 186"/>
                <a:gd name="T12" fmla="*/ 192 w 208"/>
                <a:gd name="T13" fmla="*/ 18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8" h="186">
                  <a:moveTo>
                    <a:pt x="192" y="184"/>
                  </a:moveTo>
                  <a:cubicBezTo>
                    <a:pt x="208" y="113"/>
                    <a:pt x="208" y="113"/>
                    <a:pt x="208" y="113"/>
                  </a:cubicBezTo>
                  <a:cubicBezTo>
                    <a:pt x="136" y="113"/>
                    <a:pt x="136" y="113"/>
                    <a:pt x="136" y="113"/>
                  </a:cubicBezTo>
                  <a:cubicBezTo>
                    <a:pt x="154" y="34"/>
                    <a:pt x="160" y="10"/>
                    <a:pt x="162" y="0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22" y="93"/>
                    <a:pt x="0" y="186"/>
                  </a:cubicBezTo>
                  <a:cubicBezTo>
                    <a:pt x="63" y="185"/>
                    <a:pt x="130" y="185"/>
                    <a:pt x="192" y="184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ABC34440-A8B3-43B9-B149-9D5926D206C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05663" y="-1273175"/>
              <a:ext cx="527050" cy="679450"/>
            </a:xfrm>
            <a:custGeom>
              <a:avLst/>
              <a:gdLst>
                <a:gd name="T0" fmla="*/ 40 w 165"/>
                <a:gd name="T1" fmla="*/ 38 h 213"/>
                <a:gd name="T2" fmla="*/ 0 w 165"/>
                <a:gd name="T3" fmla="*/ 213 h 213"/>
                <a:gd name="T4" fmla="*/ 115 w 165"/>
                <a:gd name="T5" fmla="*/ 213 h 213"/>
                <a:gd name="T6" fmla="*/ 165 w 165"/>
                <a:gd name="T7" fmla="*/ 0 h 213"/>
                <a:gd name="T8" fmla="*/ 40 w 165"/>
                <a:gd name="T9" fmla="*/ 38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5" h="213">
                  <a:moveTo>
                    <a:pt x="40" y="38"/>
                  </a:moveTo>
                  <a:cubicBezTo>
                    <a:pt x="21" y="123"/>
                    <a:pt x="1" y="209"/>
                    <a:pt x="0" y="213"/>
                  </a:cubicBezTo>
                  <a:cubicBezTo>
                    <a:pt x="8" y="213"/>
                    <a:pt x="110" y="213"/>
                    <a:pt x="115" y="213"/>
                  </a:cubicBezTo>
                  <a:cubicBezTo>
                    <a:pt x="116" y="212"/>
                    <a:pt x="142" y="99"/>
                    <a:pt x="165" y="0"/>
                  </a:cubicBezTo>
                  <a:cubicBezTo>
                    <a:pt x="113" y="13"/>
                    <a:pt x="72" y="26"/>
                    <a:pt x="40" y="3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id="{99EA94E5-03B3-40E1-8186-F5EEA7F534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9648825" y="-1808163"/>
              <a:ext cx="1174750" cy="1230313"/>
            </a:xfrm>
            <a:custGeom>
              <a:avLst/>
              <a:gdLst>
                <a:gd name="T0" fmla="*/ 368 w 368"/>
                <a:gd name="T1" fmla="*/ 7 h 385"/>
                <a:gd name="T2" fmla="*/ 222 w 368"/>
                <a:gd name="T3" fmla="*/ 1 h 385"/>
                <a:gd name="T4" fmla="*/ 63 w 368"/>
                <a:gd name="T5" fmla="*/ 74 h 385"/>
                <a:gd name="T6" fmla="*/ 242 w 368"/>
                <a:gd name="T7" fmla="*/ 73 h 385"/>
                <a:gd name="T8" fmla="*/ 240 w 368"/>
                <a:gd name="T9" fmla="*/ 84 h 385"/>
                <a:gd name="T10" fmla="*/ 240 w 368"/>
                <a:gd name="T11" fmla="*/ 84 h 385"/>
                <a:gd name="T12" fmla="*/ 203 w 368"/>
                <a:gd name="T13" fmla="*/ 249 h 385"/>
                <a:gd name="T14" fmla="*/ 147 w 368"/>
                <a:gd name="T15" fmla="*/ 286 h 385"/>
                <a:gd name="T16" fmla="*/ 118 w 368"/>
                <a:gd name="T17" fmla="*/ 242 h 385"/>
                <a:gd name="T18" fmla="*/ 166 w 368"/>
                <a:gd name="T19" fmla="*/ 95 h 385"/>
                <a:gd name="T20" fmla="*/ 46 w 368"/>
                <a:gd name="T21" fmla="*/ 98 h 385"/>
                <a:gd name="T22" fmla="*/ 2 w 368"/>
                <a:gd name="T23" fmla="*/ 260 h 385"/>
                <a:gd name="T24" fmla="*/ 89 w 368"/>
                <a:gd name="T25" fmla="*/ 385 h 385"/>
                <a:gd name="T26" fmla="*/ 196 w 368"/>
                <a:gd name="T27" fmla="*/ 328 h 385"/>
                <a:gd name="T28" fmla="*/ 199 w 368"/>
                <a:gd name="T29" fmla="*/ 385 h 385"/>
                <a:gd name="T30" fmla="*/ 298 w 368"/>
                <a:gd name="T31" fmla="*/ 373 h 385"/>
                <a:gd name="T32" fmla="*/ 304 w 368"/>
                <a:gd name="T33" fmla="*/ 294 h 385"/>
                <a:gd name="T34" fmla="*/ 368 w 368"/>
                <a:gd name="T35" fmla="*/ 7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8" h="385">
                  <a:moveTo>
                    <a:pt x="368" y="7"/>
                  </a:moveTo>
                  <a:cubicBezTo>
                    <a:pt x="326" y="2"/>
                    <a:pt x="268" y="0"/>
                    <a:pt x="222" y="1"/>
                  </a:cubicBezTo>
                  <a:cubicBezTo>
                    <a:pt x="153" y="3"/>
                    <a:pt x="100" y="25"/>
                    <a:pt x="63" y="74"/>
                  </a:cubicBezTo>
                  <a:cubicBezTo>
                    <a:pt x="166" y="73"/>
                    <a:pt x="242" y="73"/>
                    <a:pt x="242" y="73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40" y="84"/>
                    <a:pt x="240" y="84"/>
                    <a:pt x="240" y="84"/>
                  </a:cubicBezTo>
                  <a:cubicBezTo>
                    <a:pt x="213" y="196"/>
                    <a:pt x="203" y="249"/>
                    <a:pt x="203" y="249"/>
                  </a:cubicBezTo>
                  <a:cubicBezTo>
                    <a:pt x="193" y="265"/>
                    <a:pt x="176" y="286"/>
                    <a:pt x="147" y="286"/>
                  </a:cubicBezTo>
                  <a:cubicBezTo>
                    <a:pt x="120" y="286"/>
                    <a:pt x="117" y="263"/>
                    <a:pt x="118" y="242"/>
                  </a:cubicBezTo>
                  <a:cubicBezTo>
                    <a:pt x="119" y="191"/>
                    <a:pt x="135" y="122"/>
                    <a:pt x="166" y="95"/>
                  </a:cubicBezTo>
                  <a:cubicBezTo>
                    <a:pt x="134" y="95"/>
                    <a:pt x="93" y="96"/>
                    <a:pt x="46" y="98"/>
                  </a:cubicBezTo>
                  <a:cubicBezTo>
                    <a:pt x="21" y="142"/>
                    <a:pt x="4" y="199"/>
                    <a:pt x="2" y="260"/>
                  </a:cubicBezTo>
                  <a:cubicBezTo>
                    <a:pt x="0" y="316"/>
                    <a:pt x="24" y="385"/>
                    <a:pt x="89" y="385"/>
                  </a:cubicBezTo>
                  <a:cubicBezTo>
                    <a:pt x="133" y="385"/>
                    <a:pt x="169" y="361"/>
                    <a:pt x="196" y="328"/>
                  </a:cubicBezTo>
                  <a:cubicBezTo>
                    <a:pt x="195" y="351"/>
                    <a:pt x="199" y="385"/>
                    <a:pt x="199" y="385"/>
                  </a:cubicBezTo>
                  <a:cubicBezTo>
                    <a:pt x="298" y="373"/>
                    <a:pt x="298" y="373"/>
                    <a:pt x="298" y="373"/>
                  </a:cubicBezTo>
                  <a:cubicBezTo>
                    <a:pt x="297" y="356"/>
                    <a:pt x="298" y="323"/>
                    <a:pt x="304" y="294"/>
                  </a:cubicBezTo>
                  <a:cubicBezTo>
                    <a:pt x="323" y="201"/>
                    <a:pt x="368" y="7"/>
                    <a:pt x="368" y="7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id="{857E72BF-A217-4D89-998E-90A3C5079C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827963" y="-1398588"/>
              <a:ext cx="906462" cy="827088"/>
            </a:xfrm>
            <a:custGeom>
              <a:avLst/>
              <a:gdLst>
                <a:gd name="T0" fmla="*/ 217 w 284"/>
                <a:gd name="T1" fmla="*/ 28 h 259"/>
                <a:gd name="T2" fmla="*/ 189 w 284"/>
                <a:gd name="T3" fmla="*/ 7 h 259"/>
                <a:gd name="T4" fmla="*/ 181 w 284"/>
                <a:gd name="T5" fmla="*/ 0 h 259"/>
                <a:gd name="T6" fmla="*/ 125 w 284"/>
                <a:gd name="T7" fmla="*/ 8 h 259"/>
                <a:gd name="T8" fmla="*/ 46 w 284"/>
                <a:gd name="T9" fmla="*/ 22 h 259"/>
                <a:gd name="T10" fmla="*/ 106 w 284"/>
                <a:gd name="T11" fmla="*/ 95 h 259"/>
                <a:gd name="T12" fmla="*/ 138 w 284"/>
                <a:gd name="T13" fmla="*/ 116 h 259"/>
                <a:gd name="T14" fmla="*/ 152 w 284"/>
                <a:gd name="T15" fmla="*/ 130 h 259"/>
                <a:gd name="T16" fmla="*/ 153 w 284"/>
                <a:gd name="T17" fmla="*/ 144 h 259"/>
                <a:gd name="T18" fmla="*/ 100 w 284"/>
                <a:gd name="T19" fmla="*/ 170 h 259"/>
                <a:gd name="T20" fmla="*/ 21 w 284"/>
                <a:gd name="T21" fmla="*/ 160 h 259"/>
                <a:gd name="T22" fmla="*/ 0 w 284"/>
                <a:gd name="T23" fmla="*/ 247 h 259"/>
                <a:gd name="T24" fmla="*/ 130 w 284"/>
                <a:gd name="T25" fmla="*/ 255 h 259"/>
                <a:gd name="T26" fmla="*/ 283 w 284"/>
                <a:gd name="T27" fmla="*/ 119 h 259"/>
                <a:gd name="T28" fmla="*/ 217 w 284"/>
                <a:gd name="T29" fmla="*/ 28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4" h="259">
                  <a:moveTo>
                    <a:pt x="217" y="28"/>
                  </a:moveTo>
                  <a:cubicBezTo>
                    <a:pt x="209" y="22"/>
                    <a:pt x="198" y="15"/>
                    <a:pt x="189" y="7"/>
                  </a:cubicBezTo>
                  <a:cubicBezTo>
                    <a:pt x="187" y="4"/>
                    <a:pt x="184" y="2"/>
                    <a:pt x="181" y="0"/>
                  </a:cubicBezTo>
                  <a:cubicBezTo>
                    <a:pt x="162" y="3"/>
                    <a:pt x="143" y="5"/>
                    <a:pt x="125" y="8"/>
                  </a:cubicBezTo>
                  <a:cubicBezTo>
                    <a:pt x="97" y="12"/>
                    <a:pt x="70" y="17"/>
                    <a:pt x="46" y="22"/>
                  </a:cubicBezTo>
                  <a:cubicBezTo>
                    <a:pt x="53" y="54"/>
                    <a:pt x="75" y="73"/>
                    <a:pt x="106" y="95"/>
                  </a:cubicBezTo>
                  <a:cubicBezTo>
                    <a:pt x="117" y="102"/>
                    <a:pt x="129" y="109"/>
                    <a:pt x="138" y="116"/>
                  </a:cubicBezTo>
                  <a:cubicBezTo>
                    <a:pt x="143" y="120"/>
                    <a:pt x="149" y="125"/>
                    <a:pt x="152" y="130"/>
                  </a:cubicBezTo>
                  <a:cubicBezTo>
                    <a:pt x="155" y="136"/>
                    <a:pt x="153" y="142"/>
                    <a:pt x="153" y="144"/>
                  </a:cubicBezTo>
                  <a:cubicBezTo>
                    <a:pt x="147" y="165"/>
                    <a:pt x="126" y="170"/>
                    <a:pt x="100" y="170"/>
                  </a:cubicBezTo>
                  <a:cubicBezTo>
                    <a:pt x="52" y="170"/>
                    <a:pt x="21" y="160"/>
                    <a:pt x="21" y="16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247"/>
                    <a:pt x="53" y="259"/>
                    <a:pt x="130" y="255"/>
                  </a:cubicBezTo>
                  <a:cubicBezTo>
                    <a:pt x="232" y="249"/>
                    <a:pt x="280" y="182"/>
                    <a:pt x="283" y="119"/>
                  </a:cubicBezTo>
                  <a:cubicBezTo>
                    <a:pt x="284" y="78"/>
                    <a:pt x="251" y="51"/>
                    <a:pt x="217" y="28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87DD2748-D245-4164-9505-7677CBA096E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64600" y="-1477963"/>
              <a:ext cx="622300" cy="896938"/>
            </a:xfrm>
            <a:custGeom>
              <a:avLst/>
              <a:gdLst>
                <a:gd name="T0" fmla="*/ 166 w 195"/>
                <a:gd name="T1" fmla="*/ 192 h 281"/>
                <a:gd name="T2" fmla="*/ 134 w 195"/>
                <a:gd name="T3" fmla="*/ 184 h 281"/>
                <a:gd name="T4" fmla="*/ 131 w 195"/>
                <a:gd name="T5" fmla="*/ 150 h 281"/>
                <a:gd name="T6" fmla="*/ 164 w 195"/>
                <a:gd name="T7" fmla="*/ 0 h 281"/>
                <a:gd name="T8" fmla="*/ 42 w 195"/>
                <a:gd name="T9" fmla="*/ 8 h 281"/>
                <a:gd name="T10" fmla="*/ 10 w 195"/>
                <a:gd name="T11" fmla="*/ 151 h 281"/>
                <a:gd name="T12" fmla="*/ 21 w 195"/>
                <a:gd name="T13" fmla="*/ 250 h 281"/>
                <a:gd name="T14" fmla="*/ 97 w 195"/>
                <a:gd name="T15" fmla="*/ 281 h 281"/>
                <a:gd name="T16" fmla="*/ 179 w 195"/>
                <a:gd name="T17" fmla="*/ 271 h 281"/>
                <a:gd name="T18" fmla="*/ 195 w 195"/>
                <a:gd name="T19" fmla="*/ 190 h 281"/>
                <a:gd name="T20" fmla="*/ 166 w 195"/>
                <a:gd name="T21" fmla="*/ 19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5" h="281">
                  <a:moveTo>
                    <a:pt x="166" y="192"/>
                  </a:moveTo>
                  <a:cubicBezTo>
                    <a:pt x="152" y="192"/>
                    <a:pt x="138" y="190"/>
                    <a:pt x="134" y="184"/>
                  </a:cubicBezTo>
                  <a:cubicBezTo>
                    <a:pt x="126" y="175"/>
                    <a:pt x="129" y="160"/>
                    <a:pt x="131" y="15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24" y="2"/>
                    <a:pt x="83" y="5"/>
                    <a:pt x="42" y="8"/>
                  </a:cubicBezTo>
                  <a:cubicBezTo>
                    <a:pt x="32" y="53"/>
                    <a:pt x="21" y="102"/>
                    <a:pt x="10" y="151"/>
                  </a:cubicBezTo>
                  <a:cubicBezTo>
                    <a:pt x="2" y="185"/>
                    <a:pt x="0" y="222"/>
                    <a:pt x="21" y="250"/>
                  </a:cubicBezTo>
                  <a:cubicBezTo>
                    <a:pt x="35" y="268"/>
                    <a:pt x="58" y="281"/>
                    <a:pt x="97" y="281"/>
                  </a:cubicBezTo>
                  <a:cubicBezTo>
                    <a:pt x="121" y="281"/>
                    <a:pt x="151" y="279"/>
                    <a:pt x="179" y="271"/>
                  </a:cubicBezTo>
                  <a:cubicBezTo>
                    <a:pt x="195" y="190"/>
                    <a:pt x="195" y="190"/>
                    <a:pt x="195" y="190"/>
                  </a:cubicBezTo>
                  <a:cubicBezTo>
                    <a:pt x="186" y="191"/>
                    <a:pt x="177" y="192"/>
                    <a:pt x="166" y="192"/>
                  </a:cubicBezTo>
                  <a:close/>
                </a:path>
              </a:pathLst>
            </a:custGeom>
            <a:solidFill>
              <a:srgbClr val="0A286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" name="VCT_Marker_ID_2" hidden="1">
            <a:extLst>
              <a:ext uri="{FF2B5EF4-FFF2-40B4-BE49-F238E27FC236}">
                <a16:creationId xmlns:a16="http://schemas.microsoft.com/office/drawing/2014/main" id="{5621BB4C-6BB4-47DD-8FFC-484BA9E92490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685783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la-Latn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188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4" r:id="rId18"/>
    <p:sldLayoutId id="2147483735" r:id="rId19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pitchFamily="34" charset="0"/>
        </a:defRPr>
      </a:lvl5pPr>
      <a:lvl6pPr marL="342892" algn="l" rtl="0" eaLnBrk="1" fontAlgn="base" hangingPunct="1"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pitchFamily="34" charset="0"/>
        </a:defRPr>
      </a:lvl6pPr>
      <a:lvl7pPr marL="685783" algn="l" rtl="0" eaLnBrk="1" fontAlgn="base" hangingPunct="1"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pitchFamily="34" charset="0"/>
        </a:defRPr>
      </a:lvl7pPr>
      <a:lvl8pPr marL="1028675" algn="l" rtl="0" eaLnBrk="1" fontAlgn="base" hangingPunct="1"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pitchFamily="34" charset="0"/>
        </a:defRPr>
      </a:lvl8pPr>
      <a:lvl9pPr marL="1371566" algn="l" rtl="0" eaLnBrk="1" fontAlgn="base" hangingPunct="1"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spcBef>
          <a:spcPct val="30000"/>
        </a:spcBef>
        <a:spcAft>
          <a:spcPct val="0"/>
        </a:spcAft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0491" indent="-139301"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+mn-lt"/>
        </a:defRPr>
      </a:lvl2pPr>
      <a:lvl3pPr marL="266693" indent="-133347" algn="l" rtl="0" eaLnBrk="1" fontAlgn="base" hangingPunct="1">
        <a:spcBef>
          <a:spcPct val="30000"/>
        </a:spcBef>
        <a:spcAft>
          <a:spcPct val="0"/>
        </a:spcAft>
        <a:buClr>
          <a:schemeClr val="accent3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+mn-lt"/>
        </a:defRPr>
      </a:lvl3pPr>
      <a:lvl4pPr marL="266693" indent="0"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None/>
        <a:defRPr sz="1200">
          <a:solidFill>
            <a:schemeClr val="tx1"/>
          </a:solidFill>
          <a:latin typeface="+mn-lt"/>
        </a:defRPr>
      </a:lvl4pPr>
      <a:lvl5pPr marL="140396" indent="-140396" algn="l" rtl="0" eaLnBrk="1" fontAlgn="base" hangingPunct="1">
        <a:spcBef>
          <a:spcPct val="30000"/>
        </a:spcBef>
        <a:spcAft>
          <a:spcPct val="0"/>
        </a:spcAft>
        <a:buFont typeface="Wingdings" panose="05000000000000000000" pitchFamily="2" charset="2"/>
        <a:buChar char="§"/>
        <a:defRPr sz="1200" b="1">
          <a:solidFill>
            <a:schemeClr val="tx2"/>
          </a:solidFill>
          <a:latin typeface="+mn-lt"/>
        </a:defRPr>
      </a:lvl5pPr>
      <a:lvl6pPr marL="140396" indent="0" algn="l" rtl="0" eaLnBrk="1" fontAlgn="base" hangingPunct="1">
        <a:spcBef>
          <a:spcPts val="0"/>
        </a:spcBef>
        <a:spcAft>
          <a:spcPct val="0"/>
        </a:spcAft>
        <a:buFontTx/>
        <a:buNone/>
        <a:defRPr sz="1200" b="0">
          <a:solidFill>
            <a:schemeClr val="tx1"/>
          </a:solidFill>
          <a:latin typeface="+mn-lt"/>
        </a:defRPr>
      </a:lvl6pPr>
      <a:lvl7pPr marL="140396" indent="-140396" algn="l" rtl="0" eaLnBrk="1" fontAlgn="base" hangingPunct="1">
        <a:spcBef>
          <a:spcPts val="432"/>
        </a:spcBef>
        <a:spcAft>
          <a:spcPct val="0"/>
        </a:spcAft>
        <a:buFont typeface="Wingdings" panose="05000000000000000000" pitchFamily="2" charset="2"/>
        <a:buChar char="§"/>
        <a:defRPr sz="1200" b="1">
          <a:solidFill>
            <a:schemeClr val="accent3"/>
          </a:solidFill>
          <a:latin typeface="+mn-lt"/>
        </a:defRPr>
      </a:lvl7pPr>
      <a:lvl8pPr marL="140396" indent="-140396" algn="l" rtl="0" eaLnBrk="1" fontAlgn="base" hangingPunct="1">
        <a:spcBef>
          <a:spcPct val="30000"/>
        </a:spcBef>
        <a:spcAft>
          <a:spcPct val="0"/>
        </a:spcAft>
        <a:buFont typeface="Wingdings" panose="05000000000000000000" pitchFamily="2" charset="2"/>
        <a:buChar char="§"/>
        <a:defRPr sz="1200" b="1">
          <a:solidFill>
            <a:schemeClr val="accent3"/>
          </a:solidFill>
          <a:latin typeface="+mn-lt"/>
        </a:defRPr>
      </a:lvl8pPr>
      <a:lvl9pPr marL="1784702" indent="-146444" algn="l" rtl="0" eaLnBrk="1" fontAlgn="base" hangingPunct="1">
        <a:spcBef>
          <a:spcPct val="300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pos="567">
          <p15:clr>
            <a:srgbClr val="F26B43"/>
          </p15:clr>
        </p15:guide>
        <p15:guide id="5" pos="556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gradFill flip="none" rotWithShape="1">
          <a:gsLst>
            <a:gs pos="1000">
              <a:srgbClr val="E6E9EF"/>
            </a:gs>
            <a:gs pos="20000">
              <a:srgbClr val="CED4E0"/>
            </a:gs>
            <a:gs pos="40000">
              <a:schemeClr val="bg1">
                <a:lumMod val="95000"/>
              </a:schemeClr>
            </a:gs>
          </a:gsLst>
          <a:lin ang="162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21512006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200151" y="1"/>
            <a:ext cx="10079567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itelmasterformat durch Klicken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1200151" y="1412874"/>
            <a:ext cx="10079567" cy="4645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 dirty="0"/>
              <a:t>Textmasterformate durch Klicken bearbeiten</a:t>
            </a:r>
          </a:p>
          <a:p>
            <a:pPr lvl="1"/>
            <a:r>
              <a:rPr lang="de-DE" altLang="de-DE" noProof="0" dirty="0"/>
              <a:t>Zweite Ebene</a:t>
            </a:r>
          </a:p>
          <a:p>
            <a:pPr lvl="2"/>
            <a:r>
              <a:rPr lang="de-DE" altLang="de-DE" noProof="0" dirty="0"/>
              <a:t>Dritte Ebene</a:t>
            </a:r>
          </a:p>
          <a:p>
            <a:pPr lvl="3"/>
            <a:r>
              <a:rPr lang="de-DE" altLang="de-DE" noProof="0" dirty="0"/>
              <a:t>Vierte Ebene</a:t>
            </a:r>
          </a:p>
          <a:p>
            <a:pPr lvl="4"/>
            <a:r>
              <a:rPr lang="de-DE" altLang="de-DE" noProof="0" dirty="0"/>
              <a:t>Fünfte Ebene</a:t>
            </a:r>
          </a:p>
          <a:p>
            <a:pPr lvl="5"/>
            <a:r>
              <a:rPr lang="de-DE" altLang="de-DE" noProof="0" dirty="0"/>
              <a:t>Sechste Ebene</a:t>
            </a:r>
          </a:p>
          <a:p>
            <a:pPr lvl="6"/>
            <a:r>
              <a:rPr lang="de-DE" altLang="de-DE" noProof="0" dirty="0"/>
              <a:t>Siebte Ebene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 rot="16200000">
            <a:off x="-1320006" y="4375140"/>
            <a:ext cx="3598863" cy="480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>
                <a:solidFill>
                  <a:schemeClr val="hlink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de-DE" altLang="de-DE"/>
              <a:t>12/16 ▪ Offer description Leakage</a:t>
            </a:r>
            <a:endParaRPr lang="de-DE" altLang="de-D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200151" y="6310800"/>
            <a:ext cx="2878667" cy="17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chemeClr val="hlink"/>
                </a:solidFill>
              </a:defRPr>
            </a:lvl1pPr>
          </a:lstStyle>
          <a:p>
            <a:r>
              <a:rPr lang="de-DE" altLang="de-DE" dirty="0"/>
              <a:t>Folie </a:t>
            </a:r>
            <a:fld id="{C3B3C88A-3FAA-40A8-AD7B-A50BF5BD6E58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  <p:sp>
        <p:nvSpPr>
          <p:cNvPr id="7" name="Rectangle 30"/>
          <p:cNvSpPr>
            <a:spLocks noChangeArrowheads="1"/>
          </p:cNvSpPr>
          <p:nvPr/>
        </p:nvSpPr>
        <p:spPr bwMode="gray">
          <a:xfrm>
            <a:off x="12336693" y="2604889"/>
            <a:ext cx="480483" cy="360362"/>
          </a:xfrm>
          <a:prstGeom prst="rect">
            <a:avLst/>
          </a:prstGeom>
          <a:solidFill>
            <a:srgbClr val="F7CF66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 dirty="0"/>
              <a:t>247</a:t>
            </a:r>
          </a:p>
          <a:p>
            <a:pPr algn="ctr"/>
            <a:r>
              <a:rPr lang="de-DE" sz="800" dirty="0"/>
              <a:t>207</a:t>
            </a:r>
          </a:p>
          <a:p>
            <a:pPr algn="ctr"/>
            <a:r>
              <a:rPr lang="de-DE" sz="800" dirty="0"/>
              <a:t>102</a:t>
            </a:r>
            <a:endParaRPr lang="de-DE" sz="1800" dirty="0"/>
          </a:p>
        </p:txBody>
      </p:sp>
      <p:sp>
        <p:nvSpPr>
          <p:cNvPr id="8" name="Rectangle 31"/>
          <p:cNvSpPr>
            <a:spLocks noChangeArrowheads="1"/>
          </p:cNvSpPr>
          <p:nvPr/>
        </p:nvSpPr>
        <p:spPr bwMode="gray">
          <a:xfrm>
            <a:off x="12336693" y="3038277"/>
            <a:ext cx="480483" cy="360363"/>
          </a:xfrm>
          <a:prstGeom prst="rect">
            <a:avLst/>
          </a:prstGeom>
          <a:solidFill>
            <a:srgbClr val="FADF99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/>
              <a:t>250</a:t>
            </a:r>
          </a:p>
          <a:p>
            <a:pPr algn="ctr"/>
            <a:r>
              <a:rPr lang="de-DE" sz="800"/>
              <a:t>223</a:t>
            </a:r>
          </a:p>
          <a:p>
            <a:pPr algn="ctr"/>
            <a:r>
              <a:rPr lang="de-DE" sz="800"/>
              <a:t>153</a:t>
            </a:r>
            <a:endParaRPr lang="de-DE" sz="1800"/>
          </a:p>
        </p:txBody>
      </p:sp>
      <p:sp>
        <p:nvSpPr>
          <p:cNvPr id="9" name="Rectangle 24"/>
          <p:cNvSpPr>
            <a:spLocks noChangeArrowheads="1"/>
          </p:cNvSpPr>
          <p:nvPr/>
        </p:nvSpPr>
        <p:spPr bwMode="gray">
          <a:xfrm>
            <a:off x="12336693" y="10915"/>
            <a:ext cx="480483" cy="360363"/>
          </a:xfrm>
          <a:prstGeom prst="rect">
            <a:avLst/>
          </a:prstGeom>
          <a:solidFill>
            <a:srgbClr val="E63F0C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 dirty="0">
                <a:solidFill>
                  <a:schemeClr val="bg1"/>
                </a:solidFill>
              </a:rPr>
              <a:t>230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63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12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10" name="Rectangle 25"/>
          <p:cNvSpPr>
            <a:spLocks noChangeArrowheads="1"/>
          </p:cNvSpPr>
          <p:nvPr/>
        </p:nvSpPr>
        <p:spPr bwMode="gray">
          <a:xfrm>
            <a:off x="12336693" y="442715"/>
            <a:ext cx="480483" cy="360363"/>
          </a:xfrm>
          <a:prstGeom prst="rect">
            <a:avLst/>
          </a:prstGeom>
          <a:solidFill>
            <a:srgbClr val="EB653D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 dirty="0">
                <a:solidFill>
                  <a:schemeClr val="bg1"/>
                </a:solidFill>
              </a:rPr>
              <a:t>235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101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61</a:t>
            </a:r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11" name="Rectangle 26"/>
          <p:cNvSpPr>
            <a:spLocks noChangeArrowheads="1"/>
          </p:cNvSpPr>
          <p:nvPr/>
        </p:nvSpPr>
        <p:spPr bwMode="gray">
          <a:xfrm>
            <a:off x="12336693" y="876102"/>
            <a:ext cx="480483" cy="360362"/>
          </a:xfrm>
          <a:prstGeom prst="rect">
            <a:avLst/>
          </a:prstGeom>
          <a:solidFill>
            <a:srgbClr val="F08C6D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/>
              <a:t>240</a:t>
            </a:r>
          </a:p>
          <a:p>
            <a:pPr algn="ctr"/>
            <a:r>
              <a:rPr lang="de-DE" sz="800"/>
              <a:t>140</a:t>
            </a:r>
          </a:p>
          <a:p>
            <a:pPr algn="ctr"/>
            <a:r>
              <a:rPr lang="de-DE" sz="800"/>
              <a:t>109</a:t>
            </a:r>
            <a:endParaRPr lang="de-DE" sz="1800"/>
          </a:p>
        </p:txBody>
      </p:sp>
      <p:sp>
        <p:nvSpPr>
          <p:cNvPr id="12" name="Rectangle 27"/>
          <p:cNvSpPr>
            <a:spLocks noChangeArrowheads="1"/>
          </p:cNvSpPr>
          <p:nvPr/>
        </p:nvSpPr>
        <p:spPr bwMode="gray">
          <a:xfrm>
            <a:off x="12336693" y="1307902"/>
            <a:ext cx="480483" cy="360362"/>
          </a:xfrm>
          <a:prstGeom prst="rect">
            <a:avLst/>
          </a:prstGeom>
          <a:solidFill>
            <a:srgbClr val="F5B29E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/>
              <a:t>245</a:t>
            </a:r>
          </a:p>
          <a:p>
            <a:pPr algn="ctr"/>
            <a:r>
              <a:rPr lang="de-DE" sz="800"/>
              <a:t>178</a:t>
            </a:r>
          </a:p>
          <a:p>
            <a:pPr algn="ctr"/>
            <a:r>
              <a:rPr lang="de-DE" sz="800"/>
              <a:t>158</a:t>
            </a:r>
            <a:endParaRPr lang="de-DE" sz="1800"/>
          </a:p>
        </p:txBody>
      </p:sp>
      <p:sp>
        <p:nvSpPr>
          <p:cNvPr id="13" name="Rectangle 28"/>
          <p:cNvSpPr>
            <a:spLocks noChangeArrowheads="1"/>
          </p:cNvSpPr>
          <p:nvPr/>
        </p:nvSpPr>
        <p:spPr bwMode="gray">
          <a:xfrm>
            <a:off x="12336693" y="1741290"/>
            <a:ext cx="480483" cy="360363"/>
          </a:xfrm>
          <a:prstGeom prst="rect">
            <a:avLst/>
          </a:prstGeom>
          <a:solidFill>
            <a:srgbClr val="F2A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r>
              <a:rPr lang="de-DE" sz="800"/>
              <a:t>242</a:t>
            </a:r>
          </a:p>
          <a:p>
            <a:pPr algn="ctr"/>
            <a:r>
              <a:rPr lang="de-DE" sz="800"/>
              <a:t>175</a:t>
            </a:r>
          </a:p>
          <a:p>
            <a:pPr algn="ctr"/>
            <a:r>
              <a:rPr lang="de-DE" sz="800"/>
              <a:t>0</a:t>
            </a:r>
            <a:endParaRPr lang="de-DE" sz="1800"/>
          </a:p>
        </p:txBody>
      </p:sp>
      <p:sp>
        <p:nvSpPr>
          <p:cNvPr id="14" name="Rectangle 29"/>
          <p:cNvSpPr>
            <a:spLocks noChangeArrowheads="1"/>
          </p:cNvSpPr>
          <p:nvPr/>
        </p:nvSpPr>
        <p:spPr bwMode="gray">
          <a:xfrm>
            <a:off x="12336693" y="2173090"/>
            <a:ext cx="480483" cy="360363"/>
          </a:xfrm>
          <a:prstGeom prst="rect">
            <a:avLst/>
          </a:prstGeom>
          <a:solidFill>
            <a:srgbClr val="F5BF33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 dirty="0"/>
              <a:t>245</a:t>
            </a:r>
          </a:p>
          <a:p>
            <a:pPr algn="ctr"/>
            <a:r>
              <a:rPr lang="de-DE" sz="800" dirty="0"/>
              <a:t>191</a:t>
            </a:r>
          </a:p>
          <a:p>
            <a:pPr algn="ctr"/>
            <a:r>
              <a:rPr lang="de-DE" sz="800" dirty="0"/>
              <a:t>51</a:t>
            </a:r>
            <a:endParaRPr lang="de-DE" sz="1800" dirty="0"/>
          </a:p>
        </p:txBody>
      </p:sp>
      <p:sp>
        <p:nvSpPr>
          <p:cNvPr id="15" name="Rectangle 16"/>
          <p:cNvSpPr>
            <a:spLocks noChangeArrowheads="1"/>
          </p:cNvSpPr>
          <p:nvPr/>
        </p:nvSpPr>
        <p:spPr bwMode="auto">
          <a:xfrm>
            <a:off x="-624747" y="-12105"/>
            <a:ext cx="480483" cy="360363"/>
          </a:xfrm>
          <a:prstGeom prst="rect">
            <a:avLst/>
          </a:prstGeom>
          <a:solidFill>
            <a:srgbClr val="0A2864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10</a:t>
            </a:r>
          </a:p>
          <a:p>
            <a:pPr algn="ctr"/>
            <a:r>
              <a:rPr lang="de-DE" sz="800">
                <a:solidFill>
                  <a:schemeClr val="bg1"/>
                </a:solidFill>
              </a:rPr>
              <a:t>40</a:t>
            </a:r>
          </a:p>
          <a:p>
            <a:pPr algn="ctr"/>
            <a:r>
              <a:rPr lang="de-DE" sz="800">
                <a:solidFill>
                  <a:schemeClr val="bg1"/>
                </a:solidFill>
              </a:rPr>
              <a:t>100</a:t>
            </a:r>
          </a:p>
        </p:txBody>
      </p:sp>
      <p:sp>
        <p:nvSpPr>
          <p:cNvPr id="16" name="Rectangle 17"/>
          <p:cNvSpPr>
            <a:spLocks noChangeArrowheads="1"/>
          </p:cNvSpPr>
          <p:nvPr/>
        </p:nvSpPr>
        <p:spPr bwMode="auto">
          <a:xfrm>
            <a:off x="-624747" y="419696"/>
            <a:ext cx="480483" cy="360363"/>
          </a:xfrm>
          <a:prstGeom prst="rect">
            <a:avLst/>
          </a:prstGeom>
          <a:solidFill>
            <a:srgbClr val="3B5383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>
                <a:solidFill>
                  <a:schemeClr val="bg1"/>
                </a:solidFill>
              </a:rPr>
              <a:t>59</a:t>
            </a:r>
          </a:p>
          <a:p>
            <a:pPr algn="ctr"/>
            <a:r>
              <a:rPr lang="de-DE" sz="800">
                <a:solidFill>
                  <a:schemeClr val="bg1"/>
                </a:solidFill>
              </a:rPr>
              <a:t>83</a:t>
            </a:r>
          </a:p>
          <a:p>
            <a:pPr algn="ctr"/>
            <a:r>
              <a:rPr lang="de-DE" sz="800">
                <a:solidFill>
                  <a:schemeClr val="bg1"/>
                </a:solidFill>
              </a:rPr>
              <a:t>131</a:t>
            </a:r>
            <a:endParaRPr lang="de-DE" sz="1800"/>
          </a:p>
        </p:txBody>
      </p:sp>
      <p:sp>
        <p:nvSpPr>
          <p:cNvPr id="17" name="Rectangle 18"/>
          <p:cNvSpPr>
            <a:spLocks noChangeArrowheads="1"/>
          </p:cNvSpPr>
          <p:nvPr/>
        </p:nvSpPr>
        <p:spPr bwMode="auto">
          <a:xfrm>
            <a:off x="-624747" y="853084"/>
            <a:ext cx="480483" cy="360363"/>
          </a:xfrm>
          <a:prstGeom prst="rect">
            <a:avLst/>
          </a:prstGeom>
          <a:solidFill>
            <a:srgbClr val="6C7EA2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 dirty="0">
                <a:solidFill>
                  <a:schemeClr val="bg1"/>
                </a:solidFill>
              </a:rPr>
              <a:t>108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126</a:t>
            </a:r>
          </a:p>
          <a:p>
            <a:pPr algn="ctr"/>
            <a:r>
              <a:rPr lang="de-DE" sz="800" dirty="0">
                <a:solidFill>
                  <a:schemeClr val="bg1"/>
                </a:solidFill>
              </a:rPr>
              <a:t>162</a:t>
            </a:r>
            <a:endParaRPr lang="de-DE" sz="1800" dirty="0"/>
          </a:p>
        </p:txBody>
      </p:sp>
      <p:sp>
        <p:nvSpPr>
          <p:cNvPr id="18" name="Rectangle 19"/>
          <p:cNvSpPr>
            <a:spLocks noChangeArrowheads="1"/>
          </p:cNvSpPr>
          <p:nvPr/>
        </p:nvSpPr>
        <p:spPr bwMode="auto">
          <a:xfrm>
            <a:off x="-624747" y="1284884"/>
            <a:ext cx="480483" cy="360363"/>
          </a:xfrm>
          <a:prstGeom prst="rect">
            <a:avLst/>
          </a:prstGeom>
          <a:solidFill>
            <a:srgbClr val="9DA9C4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/>
              <a:t>157</a:t>
            </a:r>
          </a:p>
          <a:p>
            <a:pPr algn="ctr"/>
            <a:r>
              <a:rPr lang="de-DE" sz="800"/>
              <a:t>169</a:t>
            </a:r>
          </a:p>
          <a:p>
            <a:pPr algn="ctr"/>
            <a:r>
              <a:rPr lang="de-DE" sz="800"/>
              <a:t>196</a:t>
            </a:r>
            <a:endParaRPr lang="de-DE" sz="1800"/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auto">
          <a:xfrm>
            <a:off x="-624747" y="2564409"/>
            <a:ext cx="480483" cy="360363"/>
          </a:xfrm>
          <a:prstGeom prst="rect">
            <a:avLst/>
          </a:prstGeom>
          <a:solidFill>
            <a:srgbClr val="84B400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/>
              <a:t>132</a:t>
            </a:r>
          </a:p>
          <a:p>
            <a:pPr algn="ctr"/>
            <a:r>
              <a:rPr lang="de-DE" sz="800"/>
              <a:t>180</a:t>
            </a:r>
          </a:p>
          <a:p>
            <a:pPr algn="ctr"/>
            <a:r>
              <a:rPr lang="de-DE" sz="800"/>
              <a:t>0</a:t>
            </a:r>
            <a:endParaRPr lang="de-DE" sz="1800"/>
          </a:p>
        </p:txBody>
      </p:sp>
      <p:sp>
        <p:nvSpPr>
          <p:cNvPr id="20" name="Rectangle 21"/>
          <p:cNvSpPr>
            <a:spLocks noChangeArrowheads="1"/>
          </p:cNvSpPr>
          <p:nvPr/>
        </p:nvSpPr>
        <p:spPr bwMode="auto">
          <a:xfrm>
            <a:off x="-624747" y="2996209"/>
            <a:ext cx="480483" cy="360363"/>
          </a:xfrm>
          <a:prstGeom prst="rect">
            <a:avLst/>
          </a:prstGeom>
          <a:solidFill>
            <a:srgbClr val="9DC333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/>
              <a:t>157</a:t>
            </a:r>
          </a:p>
          <a:p>
            <a:pPr algn="ctr"/>
            <a:r>
              <a:rPr lang="de-DE" sz="800"/>
              <a:t>195</a:t>
            </a:r>
          </a:p>
          <a:p>
            <a:pPr algn="ctr"/>
            <a:r>
              <a:rPr lang="de-DE" sz="800"/>
              <a:t>51</a:t>
            </a:r>
            <a:endParaRPr lang="de-DE" sz="1800"/>
          </a:p>
        </p:txBody>
      </p:sp>
      <p:sp>
        <p:nvSpPr>
          <p:cNvPr id="21" name="Rectangle 22"/>
          <p:cNvSpPr>
            <a:spLocks noChangeArrowheads="1"/>
          </p:cNvSpPr>
          <p:nvPr/>
        </p:nvSpPr>
        <p:spPr bwMode="auto">
          <a:xfrm>
            <a:off x="-624747" y="3429596"/>
            <a:ext cx="480483" cy="360362"/>
          </a:xfrm>
          <a:prstGeom prst="rect">
            <a:avLst/>
          </a:prstGeom>
          <a:solidFill>
            <a:srgbClr val="B5D266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/>
              <a:t>181</a:t>
            </a:r>
          </a:p>
          <a:p>
            <a:pPr algn="ctr"/>
            <a:r>
              <a:rPr lang="de-DE" sz="800"/>
              <a:t>210</a:t>
            </a:r>
          </a:p>
          <a:p>
            <a:pPr algn="ctr"/>
            <a:r>
              <a:rPr lang="de-DE" sz="800"/>
              <a:t>102</a:t>
            </a:r>
            <a:endParaRPr lang="de-DE" sz="1800"/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-624747" y="3861396"/>
            <a:ext cx="480483" cy="360362"/>
          </a:xfrm>
          <a:prstGeom prst="rect">
            <a:avLst/>
          </a:prstGeom>
          <a:solidFill>
            <a:srgbClr val="CEE199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 dirty="0"/>
              <a:t>206</a:t>
            </a:r>
          </a:p>
          <a:p>
            <a:pPr algn="ctr"/>
            <a:r>
              <a:rPr lang="de-DE" sz="800" dirty="0"/>
              <a:t>225</a:t>
            </a:r>
          </a:p>
          <a:p>
            <a:pPr algn="ctr"/>
            <a:r>
              <a:rPr lang="de-DE" sz="800" dirty="0"/>
              <a:t>153</a:t>
            </a:r>
          </a:p>
        </p:txBody>
      </p:sp>
      <p:sp>
        <p:nvSpPr>
          <p:cNvPr id="23" name="Rectangle 18"/>
          <p:cNvSpPr>
            <a:spLocks noChangeArrowheads="1"/>
          </p:cNvSpPr>
          <p:nvPr/>
        </p:nvSpPr>
        <p:spPr bwMode="auto">
          <a:xfrm>
            <a:off x="-612047" y="1697634"/>
            <a:ext cx="480483" cy="360363"/>
          </a:xfrm>
          <a:prstGeom prst="rect">
            <a:avLst/>
          </a:prstGeom>
          <a:solidFill>
            <a:srgbClr val="CED4E0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 dirty="0">
                <a:solidFill>
                  <a:schemeClr val="tx1"/>
                </a:solidFill>
              </a:rPr>
              <a:t>206</a:t>
            </a:r>
          </a:p>
          <a:p>
            <a:pPr algn="ctr"/>
            <a:r>
              <a:rPr lang="de-DE" sz="800" dirty="0">
                <a:solidFill>
                  <a:schemeClr val="tx1"/>
                </a:solidFill>
              </a:rPr>
              <a:t>212</a:t>
            </a:r>
          </a:p>
          <a:p>
            <a:pPr algn="ctr"/>
            <a:r>
              <a:rPr lang="de-DE" sz="800" dirty="0">
                <a:solidFill>
                  <a:schemeClr val="tx1"/>
                </a:solidFill>
              </a:rPr>
              <a:t>224</a:t>
            </a:r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24" name="Rectangle 19"/>
          <p:cNvSpPr>
            <a:spLocks noChangeArrowheads="1"/>
          </p:cNvSpPr>
          <p:nvPr/>
        </p:nvSpPr>
        <p:spPr bwMode="auto">
          <a:xfrm>
            <a:off x="-624747" y="2124671"/>
            <a:ext cx="480483" cy="360362"/>
          </a:xfrm>
          <a:prstGeom prst="rect">
            <a:avLst/>
          </a:prstGeom>
          <a:solidFill>
            <a:srgbClr val="E6E9EF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/>
              <a:t>230</a:t>
            </a:r>
          </a:p>
          <a:p>
            <a:pPr algn="ctr"/>
            <a:r>
              <a:rPr lang="de-DE" sz="800"/>
              <a:t>233	</a:t>
            </a:r>
          </a:p>
          <a:p>
            <a:pPr algn="ctr"/>
            <a:r>
              <a:rPr lang="de-DE" sz="800"/>
              <a:t>239</a:t>
            </a:r>
            <a:endParaRPr lang="de-DE" sz="1800"/>
          </a:p>
        </p:txBody>
      </p:sp>
      <p:sp>
        <p:nvSpPr>
          <p:cNvPr id="25" name="Rectangle 23"/>
          <p:cNvSpPr>
            <a:spLocks noChangeArrowheads="1"/>
          </p:cNvSpPr>
          <p:nvPr/>
        </p:nvSpPr>
        <p:spPr bwMode="auto">
          <a:xfrm>
            <a:off x="-624747" y="4328716"/>
            <a:ext cx="480483" cy="360362"/>
          </a:xfrm>
          <a:prstGeom prst="rect">
            <a:avLst/>
          </a:prstGeom>
          <a:solidFill>
            <a:srgbClr val="E6F0C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800" dirty="0"/>
              <a:t>230</a:t>
            </a:r>
          </a:p>
          <a:p>
            <a:pPr algn="ctr"/>
            <a:r>
              <a:rPr lang="de-DE" sz="800" dirty="0"/>
              <a:t>240</a:t>
            </a:r>
          </a:p>
          <a:p>
            <a:pPr algn="ctr"/>
            <a:r>
              <a:rPr lang="de-DE" sz="800" dirty="0"/>
              <a:t>204</a:t>
            </a:r>
          </a:p>
        </p:txBody>
      </p:sp>
      <p:sp>
        <p:nvSpPr>
          <p:cNvPr id="26" name="Rectangle 23"/>
          <p:cNvSpPr>
            <a:spLocks noChangeArrowheads="1"/>
          </p:cNvSpPr>
          <p:nvPr/>
        </p:nvSpPr>
        <p:spPr bwMode="auto">
          <a:xfrm>
            <a:off x="-624747" y="4778178"/>
            <a:ext cx="480483" cy="360362"/>
          </a:xfrm>
          <a:prstGeom prst="rect">
            <a:avLst/>
          </a:prstGeom>
          <a:solidFill>
            <a:srgbClr val="F2F7E5"/>
          </a:solidFill>
          <a:ln>
            <a:noFill/>
          </a:ln>
        </p:spPr>
        <p:txBody>
          <a:bodyPr wrap="none" anchor="ctr"/>
          <a:lstStyle/>
          <a:p>
            <a:pPr algn="ctr"/>
            <a:r>
              <a:rPr lang="de-DE" sz="800" dirty="0"/>
              <a:t>242</a:t>
            </a:r>
          </a:p>
          <a:p>
            <a:pPr algn="ctr"/>
            <a:r>
              <a:rPr lang="de-DE" sz="800" dirty="0"/>
              <a:t>247</a:t>
            </a:r>
          </a:p>
          <a:p>
            <a:pPr algn="ctr"/>
            <a:r>
              <a:rPr lang="de-DE" sz="800" dirty="0"/>
              <a:t>229</a:t>
            </a:r>
          </a:p>
        </p:txBody>
      </p:sp>
      <p:pic>
        <p:nvPicPr>
          <p:cNvPr id="30" name="Grafik 29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8160" y="6167968"/>
            <a:ext cx="761688" cy="254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630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  <p:sldLayoutId id="2147483752" r:id="rId16"/>
    <p:sldLayoutId id="2147483753" r:id="rId17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pitchFamily="34" charset="0"/>
        </a:defRPr>
      </a:lvl9pPr>
    </p:titleStyle>
    <p:bodyStyle>
      <a:lvl1pPr marL="0" indent="0" algn="l" rtl="0" eaLnBrk="1" fontAlgn="base" hangingPunct="1"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7325" indent="-185738"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2pPr>
      <a:lvl3pPr marL="355600" indent="-177800" algn="l" rtl="0" eaLnBrk="1" fontAlgn="base" hangingPunct="1">
        <a:spcBef>
          <a:spcPct val="30000"/>
        </a:spcBef>
        <a:spcAft>
          <a:spcPct val="0"/>
        </a:spcAft>
        <a:buClr>
          <a:schemeClr val="accent3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355600" indent="0"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None/>
        <a:defRPr sz="1600">
          <a:solidFill>
            <a:schemeClr val="tx1"/>
          </a:solidFill>
          <a:latin typeface="+mn-lt"/>
        </a:defRPr>
      </a:lvl4pPr>
      <a:lvl5pPr marL="187200" indent="-187200" algn="l" rtl="0" eaLnBrk="1" fontAlgn="base" hangingPunct="1">
        <a:spcBef>
          <a:spcPct val="30000"/>
        </a:spcBef>
        <a:spcAft>
          <a:spcPct val="0"/>
        </a:spcAft>
        <a:buFont typeface="Wingdings" panose="05000000000000000000" pitchFamily="2" charset="2"/>
        <a:buChar char="§"/>
        <a:defRPr sz="1600" b="1">
          <a:solidFill>
            <a:schemeClr val="tx2"/>
          </a:solidFill>
          <a:latin typeface="+mn-lt"/>
        </a:defRPr>
      </a:lvl5pPr>
      <a:lvl6pPr marL="187200" indent="0" algn="l" rtl="0" eaLnBrk="1" fontAlgn="base" hangingPunct="1">
        <a:spcBef>
          <a:spcPts val="0"/>
        </a:spcBef>
        <a:spcAft>
          <a:spcPct val="0"/>
        </a:spcAft>
        <a:buFontTx/>
        <a:buNone/>
        <a:defRPr sz="1600" b="0">
          <a:solidFill>
            <a:schemeClr val="tx1"/>
          </a:solidFill>
          <a:latin typeface="+mn-lt"/>
        </a:defRPr>
      </a:lvl6pPr>
      <a:lvl7pPr marL="187200" indent="-187200" algn="l" rtl="0" eaLnBrk="1" fontAlgn="base" hangingPunct="1">
        <a:spcBef>
          <a:spcPts val="576"/>
        </a:spcBef>
        <a:spcAft>
          <a:spcPct val="0"/>
        </a:spcAft>
        <a:buFont typeface="Wingdings" panose="05000000000000000000" pitchFamily="2" charset="2"/>
        <a:buChar char="§"/>
        <a:defRPr sz="1600" b="1">
          <a:solidFill>
            <a:schemeClr val="accent3"/>
          </a:solidFill>
          <a:latin typeface="+mn-lt"/>
        </a:defRPr>
      </a:lvl7pPr>
      <a:lvl8pPr marL="187200" indent="-187200" algn="l" rtl="0" eaLnBrk="1" fontAlgn="base" hangingPunct="1">
        <a:spcBef>
          <a:spcPct val="30000"/>
        </a:spcBef>
        <a:spcAft>
          <a:spcPct val="0"/>
        </a:spcAft>
        <a:buFont typeface="Wingdings" panose="05000000000000000000" pitchFamily="2" charset="2"/>
        <a:buChar char="§"/>
        <a:defRPr sz="1600" b="1">
          <a:solidFill>
            <a:schemeClr val="accent3"/>
          </a:solidFill>
          <a:latin typeface="+mn-lt"/>
        </a:defRPr>
      </a:lvl8pPr>
      <a:lvl9pPr marL="2379663" indent="-195263" algn="l" rtl="0" eaLnBrk="1" fontAlgn="base" hangingPunct="1">
        <a:spcBef>
          <a:spcPct val="30000"/>
        </a:spcBef>
        <a:spcAft>
          <a:spcPct val="0"/>
        </a:spcAf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tags" Target="../tags/tag43.xml"/><Relationship Id="rId7" Type="http://schemas.openxmlformats.org/officeDocument/2006/relationships/image" Target="../media/image35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34.png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5.png"/><Relationship Id="rId5" Type="http://schemas.openxmlformats.org/officeDocument/2006/relationships/image" Target="../media/image37.jpeg"/><Relationship Id="rId4" Type="http://schemas.openxmlformats.org/officeDocument/2006/relationships/notesSlide" Target="../notesSlides/notesSlide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5" Type="http://schemas.openxmlformats.org/officeDocument/2006/relationships/image" Target="../media/image21.jpeg"/><Relationship Id="rId4" Type="http://schemas.openxmlformats.org/officeDocument/2006/relationships/image" Target="../media/image20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slideLayout" Target="../slideLayouts/slideLayout51.xml"/><Relationship Id="rId7" Type="http://schemas.openxmlformats.org/officeDocument/2006/relationships/diagramQuickStyle" Target="../diagrams/quickStyle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22.png"/><Relationship Id="rId4" Type="http://schemas.openxmlformats.org/officeDocument/2006/relationships/notesSlide" Target="../notesSlides/notesSlide3.xml"/><Relationship Id="rId9" Type="http://schemas.microsoft.com/office/2007/relationships/diagramDrawing" Target="../diagrams/drawing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image" Target="../media/image23.jpeg"/><Relationship Id="rId2" Type="http://schemas.openxmlformats.org/officeDocument/2006/relationships/tags" Target="../tags/tag20.xml"/><Relationship Id="rId16" Type="http://schemas.openxmlformats.org/officeDocument/2006/relationships/notesSlide" Target="../notesSlides/notesSlide4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5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4.jpeg"/><Relationship Id="rId5" Type="http://schemas.openxmlformats.org/officeDocument/2006/relationships/image" Target="../media/image20.JPG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0.JP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5.png"/><Relationship Id="rId5" Type="http://schemas.openxmlformats.org/officeDocument/2006/relationships/image" Target="../media/image26.jpeg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8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27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0.png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9.emf"/><Relationship Id="rId11" Type="http://schemas.openxmlformats.org/officeDocument/2006/relationships/image" Target="../media/image33.jpeg"/><Relationship Id="rId5" Type="http://schemas.openxmlformats.org/officeDocument/2006/relationships/oleObject" Target="../embeddings/oleObject9.bin"/><Relationship Id="rId10" Type="http://schemas.microsoft.com/office/2007/relationships/hdphoto" Target="../media/hdphoto1.wdp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Freihandform: Form 75">
            <a:extLst>
              <a:ext uri="{FF2B5EF4-FFF2-40B4-BE49-F238E27FC236}">
                <a16:creationId xmlns:a16="http://schemas.microsoft.com/office/drawing/2014/main" id="{72BBB259-9702-432D-85F0-B91F8D9CA7CB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0" y="2990848"/>
            <a:ext cx="1318727" cy="3867151"/>
          </a:xfrm>
          <a:custGeom>
            <a:avLst/>
            <a:gdLst>
              <a:gd name="connsiteX0" fmla="*/ 1318727 w 1318727"/>
              <a:gd name="connsiteY0" fmla="*/ 0 h 3867151"/>
              <a:gd name="connsiteX1" fmla="*/ 409828 w 1318727"/>
              <a:gd name="connsiteY1" fmla="*/ 3857249 h 3867151"/>
              <a:gd name="connsiteX2" fmla="*/ 407381 w 1318727"/>
              <a:gd name="connsiteY2" fmla="*/ 3867151 h 3867151"/>
              <a:gd name="connsiteX3" fmla="*/ 0 w 1318727"/>
              <a:gd name="connsiteY3" fmla="*/ 3867151 h 3867151"/>
              <a:gd name="connsiteX4" fmla="*/ 0 w 1318727"/>
              <a:gd name="connsiteY4" fmla="*/ 365009 h 3867151"/>
              <a:gd name="connsiteX5" fmla="*/ 57288 w 1318727"/>
              <a:gd name="connsiteY5" fmla="*/ 347329 h 3867151"/>
              <a:gd name="connsiteX6" fmla="*/ 1318727 w 1318727"/>
              <a:gd name="connsiteY6" fmla="*/ 0 h 386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8727" h="3867151">
                <a:moveTo>
                  <a:pt x="1318727" y="0"/>
                </a:moveTo>
                <a:cubicBezTo>
                  <a:pt x="920655" y="1690862"/>
                  <a:pt x="472719" y="3599640"/>
                  <a:pt x="409828" y="3857249"/>
                </a:cubicBezTo>
                <a:lnTo>
                  <a:pt x="407381" y="3867151"/>
                </a:lnTo>
                <a:lnTo>
                  <a:pt x="0" y="3867151"/>
                </a:lnTo>
                <a:lnTo>
                  <a:pt x="0" y="365009"/>
                </a:lnTo>
                <a:lnTo>
                  <a:pt x="57288" y="347329"/>
                </a:lnTo>
                <a:cubicBezTo>
                  <a:pt x="500989" y="213462"/>
                  <a:pt x="904284" y="104053"/>
                  <a:pt x="1318727" y="0"/>
                </a:cubicBezTo>
                <a:close/>
              </a:path>
            </a:pathLst>
          </a:custGeom>
          <a:solidFill>
            <a:srgbClr val="0A2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4" name="Freihandform: Form 73">
            <a:extLst>
              <a:ext uri="{FF2B5EF4-FFF2-40B4-BE49-F238E27FC236}">
                <a16:creationId xmlns:a16="http://schemas.microsoft.com/office/drawing/2014/main" id="{6D163164-C1E8-405B-ACD7-416AEA5750B2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2011000" cy="1918167"/>
          </a:xfrm>
          <a:custGeom>
            <a:avLst/>
            <a:gdLst>
              <a:gd name="connsiteX0" fmla="*/ 0 w 2011000"/>
              <a:gd name="connsiteY0" fmla="*/ 0 h 1918167"/>
              <a:gd name="connsiteX1" fmla="*/ 2010827 w 2011000"/>
              <a:gd name="connsiteY1" fmla="*/ 0 h 1918167"/>
              <a:gd name="connsiteX2" fmla="*/ 2011000 w 2011000"/>
              <a:gd name="connsiteY2" fmla="*/ 1 h 1918167"/>
              <a:gd name="connsiteX3" fmla="*/ 2010490 w 2011000"/>
              <a:gd name="connsiteY3" fmla="*/ 2192 h 1918167"/>
              <a:gd name="connsiteX4" fmla="*/ 1613969 w 2011000"/>
              <a:gd name="connsiteY4" fmla="*/ 1718551 h 1918167"/>
              <a:gd name="connsiteX5" fmla="*/ 100839 w 2011000"/>
              <a:gd name="connsiteY5" fmla="*/ 1904886 h 1918167"/>
              <a:gd name="connsiteX6" fmla="*/ 0 w 2011000"/>
              <a:gd name="connsiteY6" fmla="*/ 1918167 h 191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000" h="1918167">
                <a:moveTo>
                  <a:pt x="0" y="0"/>
                </a:moveTo>
                <a:lnTo>
                  <a:pt x="2010827" y="0"/>
                </a:lnTo>
                <a:lnTo>
                  <a:pt x="2011000" y="1"/>
                </a:lnTo>
                <a:lnTo>
                  <a:pt x="2010490" y="2192"/>
                </a:lnTo>
                <a:cubicBezTo>
                  <a:pt x="1990893" y="86304"/>
                  <a:pt x="1827448" y="788274"/>
                  <a:pt x="1613969" y="1718551"/>
                </a:cubicBezTo>
                <a:cubicBezTo>
                  <a:pt x="1291325" y="1752645"/>
                  <a:pt x="714458" y="1824808"/>
                  <a:pt x="100839" y="1904886"/>
                </a:cubicBezTo>
                <a:lnTo>
                  <a:pt x="0" y="191816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4B422395-68CB-4647-981C-6E93FD88F9D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BlokTextu 4">
            <a:extLst>
              <a:ext uri="{FF2B5EF4-FFF2-40B4-BE49-F238E27FC236}">
                <a16:creationId xmlns:a16="http://schemas.microsoft.com/office/drawing/2014/main" id="{A0C33FDD-CAF1-4321-95E7-660EAB7F80AD}"/>
              </a:ext>
            </a:extLst>
          </p:cNvPr>
          <p:cNvSpPr txBox="1"/>
          <p:nvPr/>
        </p:nvSpPr>
        <p:spPr bwMode="gray">
          <a:xfrm>
            <a:off x="2999656" y="6285786"/>
            <a:ext cx="1205599" cy="16735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marL="216000" indent="-216000" algn="l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Wingdings 2" panose="05020102010507070707" pitchFamily="18" charset="2"/>
              <a:buChar char="¡"/>
            </a:pPr>
            <a:endParaRPr lang="sk-SK" sz="1600" dirty="0" err="1"/>
          </a:p>
        </p:txBody>
      </p:sp>
      <p:sp>
        <p:nvSpPr>
          <p:cNvPr id="13" name="Nadpis 3">
            <a:extLst>
              <a:ext uri="{FF2B5EF4-FFF2-40B4-BE49-F238E27FC236}">
                <a16:creationId xmlns:a16="http://schemas.microsoft.com/office/drawing/2014/main" id="{CB00D5FD-77C6-4189-A69F-E67AF0BC43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592" y="808139"/>
            <a:ext cx="9109457" cy="720032"/>
          </a:xfrm>
        </p:spPr>
        <p:txBody>
          <a:bodyPr/>
          <a:lstStyle/>
          <a:p>
            <a:r>
              <a:rPr lang="sk-SK" sz="3600" dirty="0"/>
              <a:t>Naše produkty</a:t>
            </a:r>
          </a:p>
        </p:txBody>
      </p:sp>
      <p:pic>
        <p:nvPicPr>
          <p:cNvPr id="3" name="Obrázek 2" descr="Obsah obrázku snímek obrazovky, počítač&#10;&#10;Popis byl vytvořen automaticky">
            <a:extLst>
              <a:ext uri="{FF2B5EF4-FFF2-40B4-BE49-F238E27FC236}">
                <a16:creationId xmlns:a16="http://schemas.microsoft.com/office/drawing/2014/main" id="{E8B19502-4711-4DC3-B901-256158DFCCF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3592" y="1284509"/>
            <a:ext cx="7560840" cy="4849451"/>
          </a:xfrm>
          <a:prstGeom prst="rect">
            <a:avLst/>
          </a:prstGeom>
        </p:spPr>
      </p:pic>
      <p:sp>
        <p:nvSpPr>
          <p:cNvPr id="11" name="Nadpis 3">
            <a:extLst>
              <a:ext uri="{FF2B5EF4-FFF2-40B4-BE49-F238E27FC236}">
                <a16:creationId xmlns:a16="http://schemas.microsoft.com/office/drawing/2014/main" id="{7B892A19-4300-4F22-86CD-9A5EDA93A909}"/>
              </a:ext>
            </a:extLst>
          </p:cNvPr>
          <p:cNvSpPr txBox="1">
            <a:spLocks/>
          </p:cNvSpPr>
          <p:nvPr/>
        </p:nvSpPr>
        <p:spPr bwMode="gray">
          <a:xfrm>
            <a:off x="8301266" y="5013176"/>
            <a:ext cx="2907302" cy="1683122"/>
          </a:xfrm>
          <a:prstGeom prst="rect">
            <a:avLst/>
          </a:prstGeom>
          <a:solidFill>
            <a:schemeClr val="bg2"/>
          </a:solidFill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/>
            <a:r>
              <a:rPr lang="sk-SK" sz="2000" b="1" dirty="0">
                <a:latin typeface="+mn-lt"/>
              </a:rPr>
              <a:t>Naše technická </a:t>
            </a:r>
            <a:r>
              <a:rPr lang="sk-SK" sz="2000" b="1" dirty="0" err="1">
                <a:latin typeface="+mn-lt"/>
              </a:rPr>
              <a:t>infrastruktura</a:t>
            </a:r>
            <a:r>
              <a:rPr lang="sk-SK" sz="2000" b="1" dirty="0">
                <a:latin typeface="+mn-lt"/>
              </a:rPr>
              <a:t> spojuje </a:t>
            </a:r>
            <a:r>
              <a:rPr lang="sk-SK" sz="2000" b="1" dirty="0" err="1">
                <a:latin typeface="+mn-lt"/>
              </a:rPr>
              <a:t>Více</a:t>
            </a:r>
            <a:r>
              <a:rPr lang="sk-SK" sz="2000" b="1" dirty="0">
                <a:latin typeface="+mn-lt"/>
              </a:rPr>
              <a:t> než </a:t>
            </a:r>
            <a:r>
              <a:rPr lang="sk-SK" sz="3200" b="1" dirty="0">
                <a:latin typeface="+mn-lt"/>
              </a:rPr>
              <a:t>28 000 000 </a:t>
            </a:r>
            <a:r>
              <a:rPr lang="sk-SK" sz="2000" b="1" dirty="0" err="1">
                <a:latin typeface="+mn-lt"/>
              </a:rPr>
              <a:t>přístrojů</a:t>
            </a:r>
            <a:endParaRPr lang="sk-SK" sz="2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6536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28" descr="C:\Users\bandelow\Desktop\Zeug\Monitore_Tablet.png">
            <a:extLst>
              <a:ext uri="{FF2B5EF4-FFF2-40B4-BE49-F238E27FC236}">
                <a16:creationId xmlns:a16="http://schemas.microsoft.com/office/drawing/2014/main" id="{AEA6C5EA-B7B9-466A-8DC3-9A9CABE65420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638698" y="1645153"/>
            <a:ext cx="6748981" cy="5101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Freihandform: Form 75">
            <a:extLst>
              <a:ext uri="{FF2B5EF4-FFF2-40B4-BE49-F238E27FC236}">
                <a16:creationId xmlns:a16="http://schemas.microsoft.com/office/drawing/2014/main" id="{72BBB259-9702-432D-85F0-B91F8D9CA7CB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2990848"/>
            <a:ext cx="1318727" cy="3867151"/>
          </a:xfrm>
          <a:custGeom>
            <a:avLst/>
            <a:gdLst>
              <a:gd name="connsiteX0" fmla="*/ 1318727 w 1318727"/>
              <a:gd name="connsiteY0" fmla="*/ 0 h 3867151"/>
              <a:gd name="connsiteX1" fmla="*/ 409828 w 1318727"/>
              <a:gd name="connsiteY1" fmla="*/ 3857249 h 3867151"/>
              <a:gd name="connsiteX2" fmla="*/ 407381 w 1318727"/>
              <a:gd name="connsiteY2" fmla="*/ 3867151 h 3867151"/>
              <a:gd name="connsiteX3" fmla="*/ 0 w 1318727"/>
              <a:gd name="connsiteY3" fmla="*/ 3867151 h 3867151"/>
              <a:gd name="connsiteX4" fmla="*/ 0 w 1318727"/>
              <a:gd name="connsiteY4" fmla="*/ 365009 h 3867151"/>
              <a:gd name="connsiteX5" fmla="*/ 57288 w 1318727"/>
              <a:gd name="connsiteY5" fmla="*/ 347329 h 3867151"/>
              <a:gd name="connsiteX6" fmla="*/ 1318727 w 1318727"/>
              <a:gd name="connsiteY6" fmla="*/ 0 h 386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8727" h="3867151">
                <a:moveTo>
                  <a:pt x="1318727" y="0"/>
                </a:moveTo>
                <a:cubicBezTo>
                  <a:pt x="920655" y="1690862"/>
                  <a:pt x="472719" y="3599640"/>
                  <a:pt x="409828" y="3857249"/>
                </a:cubicBezTo>
                <a:lnTo>
                  <a:pt x="407381" y="3867151"/>
                </a:lnTo>
                <a:lnTo>
                  <a:pt x="0" y="3867151"/>
                </a:lnTo>
                <a:lnTo>
                  <a:pt x="0" y="365009"/>
                </a:lnTo>
                <a:lnTo>
                  <a:pt x="57288" y="347329"/>
                </a:lnTo>
                <a:cubicBezTo>
                  <a:pt x="500989" y="213462"/>
                  <a:pt x="904284" y="104053"/>
                  <a:pt x="1318727" y="0"/>
                </a:cubicBezTo>
                <a:close/>
              </a:path>
            </a:pathLst>
          </a:custGeom>
          <a:solidFill>
            <a:srgbClr val="0A2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4" name="Freihandform: Form 73">
            <a:extLst>
              <a:ext uri="{FF2B5EF4-FFF2-40B4-BE49-F238E27FC236}">
                <a16:creationId xmlns:a16="http://schemas.microsoft.com/office/drawing/2014/main" id="{6D163164-C1E8-405B-ACD7-416AEA5750B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2011000" cy="1918167"/>
          </a:xfrm>
          <a:custGeom>
            <a:avLst/>
            <a:gdLst>
              <a:gd name="connsiteX0" fmla="*/ 0 w 2011000"/>
              <a:gd name="connsiteY0" fmla="*/ 0 h 1918167"/>
              <a:gd name="connsiteX1" fmla="*/ 2010827 w 2011000"/>
              <a:gd name="connsiteY1" fmla="*/ 0 h 1918167"/>
              <a:gd name="connsiteX2" fmla="*/ 2011000 w 2011000"/>
              <a:gd name="connsiteY2" fmla="*/ 1 h 1918167"/>
              <a:gd name="connsiteX3" fmla="*/ 2010490 w 2011000"/>
              <a:gd name="connsiteY3" fmla="*/ 2192 h 1918167"/>
              <a:gd name="connsiteX4" fmla="*/ 1613969 w 2011000"/>
              <a:gd name="connsiteY4" fmla="*/ 1718551 h 1918167"/>
              <a:gd name="connsiteX5" fmla="*/ 100839 w 2011000"/>
              <a:gd name="connsiteY5" fmla="*/ 1904886 h 1918167"/>
              <a:gd name="connsiteX6" fmla="*/ 0 w 2011000"/>
              <a:gd name="connsiteY6" fmla="*/ 1918167 h 191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000" h="1918167">
                <a:moveTo>
                  <a:pt x="0" y="0"/>
                </a:moveTo>
                <a:lnTo>
                  <a:pt x="2010827" y="0"/>
                </a:lnTo>
                <a:lnTo>
                  <a:pt x="2011000" y="1"/>
                </a:lnTo>
                <a:lnTo>
                  <a:pt x="2010490" y="2192"/>
                </a:lnTo>
                <a:cubicBezTo>
                  <a:pt x="1990893" y="86304"/>
                  <a:pt x="1827448" y="788274"/>
                  <a:pt x="1613969" y="1718551"/>
                </a:cubicBezTo>
                <a:cubicBezTo>
                  <a:pt x="1291325" y="1752645"/>
                  <a:pt x="714458" y="1824808"/>
                  <a:pt x="100839" y="1904886"/>
                </a:cubicBezTo>
                <a:lnTo>
                  <a:pt x="0" y="191816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4B422395-68CB-4647-981C-6E93FD88F9D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7B80029E-5F37-46B1-8E11-2CC4295C06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79576" y="599067"/>
            <a:ext cx="11521677" cy="720032"/>
          </a:xfrm>
        </p:spPr>
        <p:txBody>
          <a:bodyPr/>
          <a:lstStyle/>
          <a:p>
            <a:r>
              <a:rPr lang="sk-SK" dirty="0"/>
              <a:t>ENERGETICKÝ MONITORING </a:t>
            </a:r>
            <a:r>
              <a:rPr lang="sk-SK" dirty="0">
                <a:solidFill>
                  <a:srgbClr val="84B400"/>
                </a:solidFill>
              </a:rPr>
              <a:t>ista24</a:t>
            </a:r>
            <a:endParaRPr lang="sk-SK" dirty="0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22EFCADD-D2E3-4ED3-90DC-FE0AAAF5B80C}"/>
              </a:ext>
            </a:extLst>
          </p:cNvPr>
          <p:cNvSpPr txBox="1"/>
          <p:nvPr/>
        </p:nvSpPr>
        <p:spPr bwMode="gray">
          <a:xfrm>
            <a:off x="2279929" y="119675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</a:pPr>
            <a:r>
              <a:rPr lang="sk-SK" sz="2000" dirty="0">
                <a:solidFill>
                  <a:srgbClr val="002060"/>
                </a:solidFill>
                <a:latin typeface="Arial Black" panose="020B0A04020102020204" pitchFamily="34" charset="0"/>
              </a:rPr>
              <a:t>K </a:t>
            </a:r>
            <a:r>
              <a:rPr lang="sk-SK" sz="2000" dirty="0" err="1">
                <a:solidFill>
                  <a:srgbClr val="002060"/>
                </a:solidFill>
                <a:latin typeface="Arial Black" panose="020B0A04020102020204" pitchFamily="34" charset="0"/>
              </a:rPr>
              <a:t>dispozici</a:t>
            </a:r>
            <a:r>
              <a:rPr lang="sk-SK" sz="200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sz="2000" dirty="0" err="1">
                <a:solidFill>
                  <a:srgbClr val="002060"/>
                </a:solidFill>
                <a:latin typeface="Arial Black" panose="020B0A04020102020204" pitchFamily="34" charset="0"/>
              </a:rPr>
              <a:t>jsou</a:t>
            </a:r>
            <a:r>
              <a:rPr lang="sk-SK" sz="200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sz="2000" dirty="0">
                <a:solidFill>
                  <a:srgbClr val="84B400"/>
                </a:solidFill>
                <a:latin typeface="Arial Black" panose="020B0A04020102020204" pitchFamily="34" charset="0"/>
              </a:rPr>
              <a:t>denní </a:t>
            </a:r>
            <a:r>
              <a:rPr lang="sk-SK" sz="2000" dirty="0" err="1">
                <a:solidFill>
                  <a:srgbClr val="84B400"/>
                </a:solidFill>
                <a:latin typeface="Arial Black" panose="020B0A04020102020204" pitchFamily="34" charset="0"/>
              </a:rPr>
              <a:t>data</a:t>
            </a:r>
            <a:r>
              <a:rPr lang="sk-SK" sz="2000" dirty="0">
                <a:solidFill>
                  <a:srgbClr val="002060"/>
                </a:solidFill>
                <a:latin typeface="Arial Black" panose="020B0A04020102020204" pitchFamily="34" charset="0"/>
              </a:rPr>
              <a:t>, </a:t>
            </a:r>
            <a:r>
              <a:rPr lang="sk-SK" sz="2000" dirty="0" err="1">
                <a:solidFill>
                  <a:srgbClr val="002060"/>
                </a:solidFill>
                <a:latin typeface="Arial Black" panose="020B0A04020102020204" pitchFamily="34" charset="0"/>
              </a:rPr>
              <a:t>aktualizují</a:t>
            </a:r>
            <a:r>
              <a:rPr lang="sk-SK" sz="200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sz="2000" dirty="0" err="1">
                <a:solidFill>
                  <a:srgbClr val="002060"/>
                </a:solidFill>
                <a:latin typeface="Arial Black" panose="020B0A04020102020204" pitchFamily="34" charset="0"/>
              </a:rPr>
              <a:t>se</a:t>
            </a:r>
            <a:r>
              <a:rPr lang="sk-SK" sz="2000" dirty="0">
                <a:solidFill>
                  <a:srgbClr val="002060"/>
                </a:solidFill>
                <a:latin typeface="Arial Black" panose="020B0A04020102020204" pitchFamily="34" charset="0"/>
              </a:rPr>
              <a:t> jednou </a:t>
            </a:r>
            <a:r>
              <a:rPr lang="sk-SK" sz="2000" dirty="0" err="1">
                <a:solidFill>
                  <a:srgbClr val="002060"/>
                </a:solidFill>
                <a:latin typeface="Arial Black" panose="020B0A04020102020204" pitchFamily="34" charset="0"/>
              </a:rPr>
              <a:t>týdně</a:t>
            </a:r>
            <a:r>
              <a:rPr lang="sk-SK" sz="2000" dirty="0">
                <a:solidFill>
                  <a:srgbClr val="002060"/>
                </a:solidFill>
                <a:latin typeface="Arial Black" panose="020B0A04020102020204" pitchFamily="34" charset="0"/>
              </a:rPr>
              <a:t>.</a:t>
            </a:r>
          </a:p>
        </p:txBody>
      </p:sp>
      <p:pic>
        <p:nvPicPr>
          <p:cNvPr id="4" name="Obrázok 3">
            <a:extLst>
              <a:ext uri="{FF2B5EF4-FFF2-40B4-BE49-F238E27FC236}">
                <a16:creationId xmlns:a16="http://schemas.microsoft.com/office/drawing/2014/main" id="{E54D58B1-ACCC-48A2-A4C1-74FD2A6218E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20536" y="0"/>
            <a:ext cx="1228386" cy="980728"/>
          </a:xfrm>
          <a:prstGeom prst="rect">
            <a:avLst/>
          </a:prstGeom>
        </p:spPr>
      </p:pic>
      <p:pic>
        <p:nvPicPr>
          <p:cNvPr id="11" name="Obrázek 10" descr="Obsah obrázku kreslení&#10;&#10;Popis byl vytvořen automaticky">
            <a:extLst>
              <a:ext uri="{FF2B5EF4-FFF2-40B4-BE49-F238E27FC236}">
                <a16:creationId xmlns:a16="http://schemas.microsoft.com/office/drawing/2014/main" id="{C85B56EB-F4FF-4533-9431-F9BADDE7FDF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24392" y="5857543"/>
            <a:ext cx="2448272" cy="955833"/>
          </a:xfrm>
          <a:prstGeom prst="rect">
            <a:avLst/>
          </a:prstGeom>
        </p:spPr>
      </p:pic>
      <p:pic>
        <p:nvPicPr>
          <p:cNvPr id="15" name="Picture 2" descr="C:\Users\Marcello\Desktop\ISTA 2\web\portál - porovnání teplo.png">
            <a:extLst>
              <a:ext uri="{FF2B5EF4-FFF2-40B4-BE49-F238E27FC236}">
                <a16:creationId xmlns:a16="http://schemas.microsoft.com/office/drawing/2014/main" id="{76ED3B98-6DDE-45DB-A8B1-5B15F45F3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12839" y="2132856"/>
            <a:ext cx="5303441" cy="41101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9030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ok 3" descr="Obrázok, na ktorom je prenosný počítač, počítač, klávesnica&#10;&#10;Automaticky generovaný popis">
            <a:extLst>
              <a:ext uri="{FF2B5EF4-FFF2-40B4-BE49-F238E27FC236}">
                <a16:creationId xmlns:a16="http://schemas.microsoft.com/office/drawing/2014/main" id="{7E309E5B-5858-4E4C-8218-A9476CAE3FD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733"/>
          <a:stretch/>
        </p:blipFill>
        <p:spPr>
          <a:xfrm>
            <a:off x="-24680" y="-29787"/>
            <a:ext cx="4218926" cy="7038072"/>
          </a:xfrm>
          <a:prstGeom prst="rect">
            <a:avLst/>
          </a:prstGeom>
        </p:spPr>
      </p:pic>
      <p:pic>
        <p:nvPicPr>
          <p:cNvPr id="14" name="Picture 29">
            <a:extLst>
              <a:ext uri="{FF2B5EF4-FFF2-40B4-BE49-F238E27FC236}">
                <a16:creationId xmlns:a16="http://schemas.microsoft.com/office/drawing/2014/main" id="{C25FB456-7838-42C1-992C-135D211B261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24680" y="-1736"/>
            <a:ext cx="11562716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8E85B248-AECE-40C8-8D63-231EC0D042A1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5808032" y="6453336"/>
            <a:ext cx="576000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algn="ctr"/>
            <a:fld id="{8FF9B0DE-3FEB-4AA0-B465-B80EF7C1333D}" type="slidenum">
              <a:rPr lang="de-DE" sz="800"/>
              <a:pPr algn="ctr"/>
              <a:t>11</a:t>
            </a:fld>
            <a:endParaRPr lang="de-DE" sz="800" dirty="0"/>
          </a:p>
        </p:txBody>
      </p:sp>
      <p:sp>
        <p:nvSpPr>
          <p:cNvPr id="11" name="BlokTextu 10">
            <a:extLst>
              <a:ext uri="{FF2B5EF4-FFF2-40B4-BE49-F238E27FC236}">
                <a16:creationId xmlns:a16="http://schemas.microsoft.com/office/drawing/2014/main" id="{9A50EA96-AC24-46A7-BEF4-DF4327349CE1}"/>
              </a:ext>
            </a:extLst>
          </p:cNvPr>
          <p:cNvSpPr txBox="1"/>
          <p:nvPr/>
        </p:nvSpPr>
        <p:spPr>
          <a:xfrm>
            <a:off x="4416619" y="1704445"/>
            <a:ext cx="7465650" cy="5106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30000"/>
              </a:spcBef>
              <a:spcAft>
                <a:spcPts val="600"/>
              </a:spcAft>
              <a:buClr>
                <a:srgbClr val="92D050"/>
              </a:buClr>
              <a:buSzPct val="150000"/>
            </a:pP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Správce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má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přístup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k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údajům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pro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všechny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domy a byty, dokáže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reagovat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na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případné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žádosti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vlastníků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bez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přístupu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(v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případe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reklamace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,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změny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vlastníků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... )</a:t>
            </a:r>
          </a:p>
          <a:p>
            <a:pPr>
              <a:spcBef>
                <a:spcPct val="30000"/>
              </a:spcBef>
              <a:spcAft>
                <a:spcPts val="600"/>
              </a:spcAft>
              <a:buClr>
                <a:srgbClr val="92D050"/>
              </a:buClr>
              <a:buSzPct val="150000"/>
            </a:pPr>
            <a:endParaRPr lang="sk-SK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  <a:p>
            <a:pPr marL="285750" indent="-285750">
              <a:spcBef>
                <a:spcPct val="30000"/>
              </a:spcBef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historie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kern="0" dirty="0" err="1">
                <a:solidFill>
                  <a:srgbClr val="84B400"/>
                </a:solidFill>
                <a:latin typeface="Arial Black" panose="020B0A04020102020204" pitchFamily="34" charset="0"/>
              </a:rPr>
              <a:t>denních</a:t>
            </a:r>
            <a:r>
              <a:rPr lang="sk-SK" kern="0" dirty="0">
                <a:solidFill>
                  <a:srgbClr val="84B400"/>
                </a:solidFill>
                <a:latin typeface="Arial Black" panose="020B0A04020102020204" pitchFamily="34" charset="0"/>
              </a:rPr>
              <a:t> </a:t>
            </a:r>
            <a:r>
              <a:rPr lang="sk-SK" kern="0" dirty="0" err="1">
                <a:solidFill>
                  <a:srgbClr val="84B400"/>
                </a:solidFill>
                <a:latin typeface="Arial Black" panose="020B0A04020102020204" pitchFamily="34" charset="0"/>
              </a:rPr>
              <a:t>odečtů</a:t>
            </a:r>
            <a:r>
              <a:rPr lang="sk-SK" kern="0" dirty="0">
                <a:solidFill>
                  <a:srgbClr val="84B400"/>
                </a:solidFill>
                <a:latin typeface="Arial Black" panose="020B0A04020102020204" pitchFamily="34" charset="0"/>
              </a:rPr>
              <a:t> </a:t>
            </a:r>
          </a:p>
          <a:p>
            <a:pPr marL="285750" indent="-285750">
              <a:spcBef>
                <a:spcPct val="30000"/>
              </a:spcBef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grafické </a:t>
            </a:r>
            <a:r>
              <a:rPr lang="sk-SK" kern="0" dirty="0" err="1">
                <a:solidFill>
                  <a:srgbClr val="84B400"/>
                </a:solidFill>
                <a:latin typeface="Arial Black" panose="020B0A04020102020204" pitchFamily="34" charset="0"/>
              </a:rPr>
              <a:t>porovnání</a:t>
            </a:r>
            <a:r>
              <a:rPr lang="sk-SK" kern="0" dirty="0">
                <a:solidFill>
                  <a:srgbClr val="84B400"/>
                </a:solidFill>
                <a:latin typeface="Arial Black" panose="020B0A04020102020204" pitchFamily="34" charset="0"/>
              </a:rPr>
              <a:t> </a:t>
            </a:r>
            <a:r>
              <a:rPr lang="sk-SK" kern="0" dirty="0" err="1">
                <a:solidFill>
                  <a:srgbClr val="84B400"/>
                </a:solidFill>
                <a:latin typeface="Arial Black" panose="020B0A04020102020204" pitchFamily="34" charset="0"/>
              </a:rPr>
              <a:t>spotřeb</a:t>
            </a:r>
            <a:r>
              <a:rPr lang="sk-SK" kern="0" dirty="0">
                <a:solidFill>
                  <a:srgbClr val="84B400"/>
                </a:solidFill>
                <a:latin typeface="Arial Black" panose="020B0A04020102020204" pitchFamily="34" charset="0"/>
              </a:rPr>
              <a:t>  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budov v jeho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správě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 a jednotlivých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bytů</a:t>
            </a:r>
            <a:endParaRPr lang="sk-SK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  <a:p>
            <a:pPr marL="285750" indent="-285750">
              <a:spcBef>
                <a:spcPct val="30000"/>
              </a:spcBef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hlášení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o </a:t>
            </a:r>
            <a:r>
              <a:rPr lang="sk-SK" kern="0" dirty="0">
                <a:solidFill>
                  <a:srgbClr val="84B400"/>
                </a:solidFill>
                <a:latin typeface="Arial Black" panose="020B0A04020102020204" pitchFamily="34" charset="0"/>
              </a:rPr>
              <a:t>chybách a poruchách 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na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měřičích</a:t>
            </a:r>
            <a:endParaRPr lang="sk-SK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  <a:p>
            <a:pPr marL="285750" indent="-285750">
              <a:spcBef>
                <a:spcPct val="30000"/>
              </a:spcBef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hlášení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o </a:t>
            </a:r>
            <a:r>
              <a:rPr lang="sk-SK" kern="0" dirty="0">
                <a:solidFill>
                  <a:srgbClr val="84B400"/>
                </a:solidFill>
                <a:latin typeface="Arial Black" panose="020B0A04020102020204" pitchFamily="34" charset="0"/>
              </a:rPr>
              <a:t>úniku vody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,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zpětných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průtocích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na VDM a nulových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spotřebách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</a:p>
          <a:p>
            <a:pPr marL="285750" indent="-285750">
              <a:spcBef>
                <a:spcPct val="30000"/>
              </a:spcBef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hromadné exporty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dat</a:t>
            </a:r>
            <a:endParaRPr lang="sk-SK" kern="0" dirty="0">
              <a:solidFill>
                <a:srgbClr val="002060"/>
              </a:solidFill>
              <a:latin typeface="Arial Black" panose="020B0A04020102020204" pitchFamily="34" charset="0"/>
            </a:endParaRPr>
          </a:p>
          <a:p>
            <a:pPr marL="285750" indent="-285750">
              <a:spcBef>
                <a:spcPct val="30000"/>
              </a:spcBef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možnost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poskytnutí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přístupu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pro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zástupce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bytového domu, </a:t>
            </a:r>
            <a:r>
              <a:rPr lang="sk-SK" kern="0" dirty="0" err="1">
                <a:solidFill>
                  <a:srgbClr val="002060"/>
                </a:solidFill>
                <a:latin typeface="Arial Black" panose="020B0A04020102020204" pitchFamily="34" charset="0"/>
              </a:rPr>
              <a:t>předsedovi</a:t>
            </a:r>
            <a:r>
              <a:rPr lang="sk-SK" kern="0" dirty="0">
                <a:solidFill>
                  <a:srgbClr val="002060"/>
                </a:solidFill>
                <a:latin typeface="Arial Black" panose="020B0A04020102020204" pitchFamily="34" charset="0"/>
              </a:rPr>
              <a:t> SVJ</a:t>
            </a:r>
          </a:p>
          <a:p>
            <a:endParaRPr lang="sk-SK" sz="1400" dirty="0"/>
          </a:p>
        </p:txBody>
      </p:sp>
      <p:sp>
        <p:nvSpPr>
          <p:cNvPr id="13" name="Nadpis 5">
            <a:extLst>
              <a:ext uri="{FF2B5EF4-FFF2-40B4-BE49-F238E27FC236}">
                <a16:creationId xmlns:a16="http://schemas.microsoft.com/office/drawing/2014/main" id="{73F1E98C-2187-447E-8377-901045C4482F}"/>
              </a:ext>
            </a:extLst>
          </p:cNvPr>
          <p:cNvSpPr txBox="1">
            <a:spLocks/>
          </p:cNvSpPr>
          <p:nvPr/>
        </p:nvSpPr>
        <p:spPr>
          <a:xfrm>
            <a:off x="4367808" y="548680"/>
            <a:ext cx="4340484" cy="8679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sk-SK" b="1" dirty="0">
                <a:solidFill>
                  <a:srgbClr val="84B400"/>
                </a:solidFill>
                <a:latin typeface="Arial Black" panose="020B0A04020102020204" pitchFamily="34" charset="0"/>
              </a:rPr>
              <a:t>ista24</a:t>
            </a:r>
          </a:p>
          <a:p>
            <a:pPr fontAlgn="base">
              <a:spcAft>
                <a:spcPct val="0"/>
              </a:spcAft>
            </a:pPr>
            <a:r>
              <a:rPr lang="sk-SK" b="1" dirty="0">
                <a:solidFill>
                  <a:srgbClr val="002060"/>
                </a:solidFill>
                <a:latin typeface="Arial Black" panose="020B0A04020102020204" pitchFamily="34" charset="0"/>
              </a:rPr>
              <a:t>ÚČET </a:t>
            </a:r>
            <a:r>
              <a:rPr lang="sk-SK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PRo</a:t>
            </a:r>
            <a:r>
              <a:rPr lang="sk-SK" b="1" dirty="0">
                <a:solidFill>
                  <a:srgbClr val="002060"/>
                </a:solidFill>
                <a:latin typeface="Arial Black" panose="020B0A04020102020204" pitchFamily="34" charset="0"/>
              </a:rPr>
              <a:t> </a:t>
            </a:r>
            <a:r>
              <a:rPr lang="sk-SK" b="1" dirty="0" err="1">
                <a:solidFill>
                  <a:srgbClr val="002060"/>
                </a:solidFill>
                <a:latin typeface="Arial Black" panose="020B0A04020102020204" pitchFamily="34" charset="0"/>
              </a:rPr>
              <a:t>SPRÁVCe</a:t>
            </a:r>
            <a:endParaRPr lang="sk-SK" b="1" dirty="0">
              <a:solidFill>
                <a:srgbClr val="002060"/>
              </a:solidFill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44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el 25">
            <a:extLst>
              <a:ext uri="{FF2B5EF4-FFF2-40B4-BE49-F238E27FC236}">
                <a16:creationId xmlns:a16="http://schemas.microsoft.com/office/drawing/2014/main" id="{69CDFF21-545C-45BD-8AAE-308B76E943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7097" y="-314964"/>
            <a:ext cx="9425369" cy="1512168"/>
          </a:xfrm>
        </p:spPr>
        <p:txBody>
          <a:bodyPr/>
          <a:lstStyle/>
          <a:p>
            <a:r>
              <a:rPr lang="sk-SK" sz="2800" dirty="0" err="1"/>
              <a:t>nákladově</a:t>
            </a:r>
            <a:r>
              <a:rPr lang="sk-SK" sz="2800" dirty="0"/>
              <a:t> </a:t>
            </a:r>
            <a:r>
              <a:rPr lang="sk-SK" sz="2800" dirty="0" err="1">
                <a:solidFill>
                  <a:srgbClr val="84B400"/>
                </a:solidFill>
              </a:rPr>
              <a:t>efektivní</a:t>
            </a:r>
            <a:r>
              <a:rPr lang="sk-SK" sz="2800" dirty="0"/>
              <a:t> </a:t>
            </a:r>
            <a:r>
              <a:rPr lang="sk-SK" sz="2800" dirty="0" err="1"/>
              <a:t>dálkový</a:t>
            </a:r>
            <a:r>
              <a:rPr lang="sk-SK" sz="2800" dirty="0"/>
              <a:t> </a:t>
            </a:r>
            <a:r>
              <a:rPr lang="sk-SK" sz="2800" dirty="0" err="1"/>
              <a:t>odečet</a:t>
            </a:r>
            <a:endParaRPr lang="sk-SK" sz="280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03D1FD1-80DF-43E2-A5FC-C65A96B0238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FF9B0DE-3FEB-4AA0-B465-B80EF7C1333D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99788EA2-D315-4F5F-8D40-27EA4E9B2627}"/>
              </a:ext>
            </a:extLst>
          </p:cNvPr>
          <p:cNvSpPr txBox="1"/>
          <p:nvPr/>
        </p:nvSpPr>
        <p:spPr>
          <a:xfrm>
            <a:off x="2011854" y="1528579"/>
            <a:ext cx="9520612" cy="17112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44373" indent="-244373">
              <a:lnSpc>
                <a:spcPct val="150000"/>
              </a:lnSpc>
              <a:buClr>
                <a:srgbClr val="9DC333"/>
              </a:buClr>
              <a:buFont typeface="Wingdings" panose="05000000000000000000" pitchFamily="2" charset="2"/>
              <a:buChar char="ü"/>
            </a:pPr>
            <a:r>
              <a:rPr lang="sk-SK" dirty="0">
                <a:solidFill>
                  <a:srgbClr val="002060"/>
                </a:solidFill>
                <a:latin typeface="+mj-lt"/>
              </a:rPr>
              <a:t>bez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přídavných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zařízení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,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připojení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na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elektřinu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,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stavebních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úprav</a:t>
            </a:r>
          </a:p>
          <a:p>
            <a:pPr marL="244373" indent="-244373">
              <a:lnSpc>
                <a:spcPct val="150000"/>
              </a:lnSpc>
              <a:buClr>
                <a:srgbClr val="9DC333"/>
              </a:buClr>
              <a:buFont typeface="Wingdings" panose="05000000000000000000" pitchFamily="2" charset="2"/>
              <a:buChar char="ü"/>
            </a:pPr>
            <a:r>
              <a:rPr lang="sk-SK" dirty="0" err="1">
                <a:solidFill>
                  <a:srgbClr val="002060"/>
                </a:solidFill>
                <a:latin typeface="+mj-lt"/>
              </a:rPr>
              <a:t>obousměrně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komunikující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zařízení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=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větší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dosah</a:t>
            </a:r>
          </a:p>
          <a:p>
            <a:pPr marL="244373" indent="-244373">
              <a:lnSpc>
                <a:spcPct val="150000"/>
              </a:lnSpc>
              <a:buClr>
                <a:srgbClr val="9DC333"/>
              </a:buClr>
              <a:buFont typeface="Wingdings" panose="05000000000000000000" pitchFamily="2" charset="2"/>
              <a:buChar char="ü"/>
            </a:pPr>
            <a:r>
              <a:rPr lang="sk-SK" dirty="0">
                <a:solidFill>
                  <a:srgbClr val="002060"/>
                </a:solidFill>
                <a:latin typeface="+mj-lt"/>
              </a:rPr>
              <a:t>na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standardní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bytový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dům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postačuje </a:t>
            </a:r>
            <a:r>
              <a:rPr lang="sk-SK" dirty="0">
                <a:solidFill>
                  <a:srgbClr val="84B400"/>
                </a:solidFill>
                <a:latin typeface="+mj-lt"/>
              </a:rPr>
              <a:t>1- max. 2 </a:t>
            </a:r>
            <a:r>
              <a:rPr lang="sk-SK" dirty="0" err="1">
                <a:solidFill>
                  <a:srgbClr val="84B400"/>
                </a:solidFill>
                <a:latin typeface="+mj-lt"/>
              </a:rPr>
              <a:t>sběrnice</a:t>
            </a:r>
            <a:endParaRPr lang="sk-SK" dirty="0">
              <a:solidFill>
                <a:srgbClr val="84B400"/>
              </a:solidFill>
              <a:latin typeface="+mj-lt"/>
            </a:endParaRPr>
          </a:p>
          <a:p>
            <a:pPr marL="244373" indent="-244373">
              <a:lnSpc>
                <a:spcPct val="150000"/>
              </a:lnSpc>
              <a:buClr>
                <a:srgbClr val="9DC333"/>
              </a:buClr>
              <a:buFont typeface="Wingdings" panose="05000000000000000000" pitchFamily="2" charset="2"/>
              <a:buChar char="ü"/>
            </a:pPr>
            <a:r>
              <a:rPr lang="sk-SK" dirty="0" err="1">
                <a:solidFill>
                  <a:srgbClr val="002060"/>
                </a:solidFill>
                <a:latin typeface="+mj-lt"/>
              </a:rPr>
              <a:t>životnost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</a:t>
            </a:r>
            <a:r>
              <a:rPr lang="sk-SK" dirty="0" err="1">
                <a:solidFill>
                  <a:srgbClr val="002060"/>
                </a:solidFill>
                <a:latin typeface="+mj-lt"/>
              </a:rPr>
              <a:t>baterie</a:t>
            </a:r>
            <a:r>
              <a:rPr lang="sk-SK" dirty="0">
                <a:solidFill>
                  <a:srgbClr val="002060"/>
                </a:solidFill>
                <a:latin typeface="+mj-lt"/>
              </a:rPr>
              <a:t> </a:t>
            </a:r>
            <a:r>
              <a:rPr lang="sk-SK" dirty="0">
                <a:solidFill>
                  <a:srgbClr val="84B400"/>
                </a:solidFill>
                <a:latin typeface="+mj-lt"/>
              </a:rPr>
              <a:t>10 let</a:t>
            </a:r>
          </a:p>
        </p:txBody>
      </p:sp>
      <p:pic>
        <p:nvPicPr>
          <p:cNvPr id="11" name="Obrázok 10">
            <a:extLst>
              <a:ext uri="{FF2B5EF4-FFF2-40B4-BE49-F238E27FC236}">
                <a16:creationId xmlns:a16="http://schemas.microsoft.com/office/drawing/2014/main" id="{2E135F60-9366-462C-AD67-6E5D7E2F9A2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7706" y="3522789"/>
            <a:ext cx="2736304" cy="2936521"/>
          </a:xfrm>
          <a:prstGeom prst="rect">
            <a:avLst/>
          </a:prstGeom>
        </p:spPr>
      </p:pic>
      <p:pic>
        <p:nvPicPr>
          <p:cNvPr id="12" name="Obrázok 11">
            <a:extLst>
              <a:ext uri="{FF2B5EF4-FFF2-40B4-BE49-F238E27FC236}">
                <a16:creationId xmlns:a16="http://schemas.microsoft.com/office/drawing/2014/main" id="{9FC959E9-E387-4CD1-B125-1B47BC7C516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81"/>
          <a:stretch/>
        </p:blipFill>
        <p:spPr>
          <a:xfrm>
            <a:off x="5404347" y="3413254"/>
            <a:ext cx="1843781" cy="3211753"/>
          </a:xfrm>
          <a:prstGeom prst="rect">
            <a:avLst/>
          </a:prstGeom>
        </p:spPr>
      </p:pic>
      <p:pic>
        <p:nvPicPr>
          <p:cNvPr id="13" name="Obrázok 12">
            <a:extLst>
              <a:ext uri="{FF2B5EF4-FFF2-40B4-BE49-F238E27FC236}">
                <a16:creationId xmlns:a16="http://schemas.microsoft.com/office/drawing/2014/main" id="{BD416BFF-EA21-433C-8E7D-F167AACB4F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12224" y="3525551"/>
            <a:ext cx="3240360" cy="3071785"/>
          </a:xfrm>
          <a:prstGeom prst="rect">
            <a:avLst/>
          </a:prstGeom>
        </p:spPr>
      </p:pic>
      <p:pic>
        <p:nvPicPr>
          <p:cNvPr id="2" name="Obrázok 1">
            <a:extLst>
              <a:ext uri="{FF2B5EF4-FFF2-40B4-BE49-F238E27FC236}">
                <a16:creationId xmlns:a16="http://schemas.microsoft.com/office/drawing/2014/main" id="{085C5DD1-682F-4295-9D4D-B13C86692A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581"/>
            <a:ext cx="2011854" cy="1920406"/>
          </a:xfrm>
          <a:prstGeom prst="rect">
            <a:avLst/>
          </a:prstGeom>
        </p:spPr>
      </p:pic>
      <p:pic>
        <p:nvPicPr>
          <p:cNvPr id="3" name="Obrázok 2">
            <a:extLst>
              <a:ext uri="{FF2B5EF4-FFF2-40B4-BE49-F238E27FC236}">
                <a16:creationId xmlns:a16="http://schemas.microsoft.com/office/drawing/2014/main" id="{42F03A4A-C2B6-44E8-906F-F1139A22CBD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3639" y="2991220"/>
            <a:ext cx="1316850" cy="3865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705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el 1"/>
          <p:cNvSpPr txBox="1">
            <a:spLocks/>
          </p:cNvSpPr>
          <p:nvPr/>
        </p:nvSpPr>
        <p:spPr>
          <a:xfrm>
            <a:off x="1834874" y="-46788"/>
            <a:ext cx="8104961" cy="105251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endParaRPr lang="de-DE" kern="0" dirty="0">
              <a:solidFill>
                <a:schemeClr val="bg1"/>
              </a:solidFill>
            </a:endParaRPr>
          </a:p>
          <a:p>
            <a:br>
              <a:rPr lang="de-DE" kern="0" dirty="0">
                <a:solidFill>
                  <a:schemeClr val="bg1"/>
                </a:solidFill>
              </a:rPr>
            </a:br>
            <a:endParaRPr lang="sk-SK" kern="0" dirty="0">
              <a:solidFill>
                <a:schemeClr val="bg1"/>
              </a:solidFill>
            </a:endParaRPr>
          </a:p>
        </p:txBody>
      </p:sp>
      <p:sp>
        <p:nvSpPr>
          <p:cNvPr id="32" name="Zástupný symbol pro obsah 4">
            <a:extLst>
              <a:ext uri="{FF2B5EF4-FFF2-40B4-BE49-F238E27FC236}">
                <a16:creationId xmlns:a16="http://schemas.microsoft.com/office/drawing/2014/main" id="{A774CBF8-54AD-4DF9-B05E-CCF20261F9D9}"/>
              </a:ext>
            </a:extLst>
          </p:cNvPr>
          <p:cNvSpPr txBox="1">
            <a:spLocks/>
          </p:cNvSpPr>
          <p:nvPr/>
        </p:nvSpPr>
        <p:spPr>
          <a:xfrm>
            <a:off x="2354446" y="1339896"/>
            <a:ext cx="8103243" cy="402763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7325" indent="-185738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355600" indent="-1778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35560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600">
                <a:solidFill>
                  <a:schemeClr val="tx1"/>
                </a:solidFill>
                <a:latin typeface="+mn-lt"/>
              </a:defRPr>
            </a:lvl4pPr>
            <a:lvl5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tx2"/>
                </a:solidFill>
                <a:latin typeface="+mn-lt"/>
              </a:defRPr>
            </a:lvl5pPr>
            <a:lvl6pPr marL="18720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baseline="0">
                <a:solidFill>
                  <a:schemeClr val="tx1"/>
                </a:solidFill>
                <a:latin typeface="+mn-lt"/>
              </a:defRPr>
            </a:lvl6pPr>
            <a:lvl7pPr marL="187200" indent="-18720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7pPr>
            <a:lvl8pPr marL="187200" indent="-18720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b="1">
                <a:solidFill>
                  <a:schemeClr val="accent3"/>
                </a:solidFill>
                <a:latin typeface="+mn-lt"/>
              </a:defRPr>
            </a:lvl8pPr>
            <a:lvl9pPr marL="2379663" indent="-195263" algn="l" rtl="0" eaLnBrk="1" fontAlgn="base" hangingPunct="1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Aft>
                <a:spcPts val="600"/>
              </a:spcAft>
              <a:buClr>
                <a:srgbClr val="92D050"/>
              </a:buClr>
              <a:buSzPct val="150000"/>
            </a:pPr>
            <a:endParaRPr lang="cs-CZ" altLang="en-US" u="sng" kern="0" dirty="0"/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endParaRPr lang="en-US" altLang="en-US" kern="0" dirty="0"/>
          </a:p>
          <a:p>
            <a:endParaRPr lang="cs-CZ" altLang="en-US" u="sng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en-US" u="sng" kern="0" dirty="0"/>
          </a:p>
        </p:txBody>
      </p:sp>
      <p:sp>
        <p:nvSpPr>
          <p:cNvPr id="9" name="Nadpis 3">
            <a:extLst>
              <a:ext uri="{FF2B5EF4-FFF2-40B4-BE49-F238E27FC236}">
                <a16:creationId xmlns:a16="http://schemas.microsoft.com/office/drawing/2014/main" id="{F8B43DFE-9A6C-4887-9235-25D469D81BF7}"/>
              </a:ext>
            </a:extLst>
          </p:cNvPr>
          <p:cNvSpPr txBox="1">
            <a:spLocks/>
          </p:cNvSpPr>
          <p:nvPr/>
        </p:nvSpPr>
        <p:spPr bwMode="gray">
          <a:xfrm>
            <a:off x="5303912" y="125677"/>
            <a:ext cx="7832317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r>
              <a:rPr lang="sk-SK" altLang="en-US" sz="2800" kern="0" dirty="0">
                <a:solidFill>
                  <a:srgbClr val="84B400"/>
                </a:solidFill>
              </a:rPr>
              <a:t>SMART</a:t>
            </a:r>
            <a:r>
              <a:rPr lang="sk-SK" altLang="en-US" sz="2800" kern="0" dirty="0"/>
              <a:t> SYSTÉM ista</a:t>
            </a:r>
            <a:endParaRPr lang="en-US" altLang="en-US" sz="2800" kern="0" dirty="0"/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0EBB8B00-9BCA-4B4F-AACD-EACCF72A3B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1904" y="1997839"/>
            <a:ext cx="6605305" cy="2862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k-SK" altLang="en-US" sz="2000" b="1" dirty="0">
                <a:solidFill>
                  <a:srgbClr val="002060"/>
                </a:solidFill>
                <a:latin typeface="+mj-lt"/>
              </a:rPr>
              <a:t>Jedna z </a:t>
            </a:r>
            <a:r>
              <a:rPr lang="sk-SK" altLang="en-US" sz="2000" b="1" dirty="0" err="1">
                <a:solidFill>
                  <a:srgbClr val="84B400"/>
                </a:solidFill>
                <a:latin typeface="+mj-lt"/>
              </a:rPr>
              <a:t>nejbezpečnějších</a:t>
            </a:r>
            <a:r>
              <a:rPr lang="sk-SK" altLang="en-US" sz="2000" b="1" dirty="0">
                <a:solidFill>
                  <a:srgbClr val="002060"/>
                </a:solidFill>
                <a:latin typeface="+mj-lt"/>
              </a:rPr>
              <a:t> a </a:t>
            </a:r>
            <a:r>
              <a:rPr lang="sk-SK" altLang="en-US" sz="2000" b="1" dirty="0" err="1">
                <a:solidFill>
                  <a:srgbClr val="84B400"/>
                </a:solidFill>
                <a:latin typeface="+mj-lt"/>
              </a:rPr>
              <a:t>nejpohodlnějších</a:t>
            </a:r>
            <a:r>
              <a:rPr lang="sk-SK" altLang="en-US" sz="20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sk-SK" altLang="en-US" sz="2000" b="1" dirty="0" err="1">
                <a:solidFill>
                  <a:srgbClr val="002060"/>
                </a:solidFill>
                <a:latin typeface="+mj-lt"/>
              </a:rPr>
              <a:t>digitálních</a:t>
            </a:r>
            <a:r>
              <a:rPr lang="sk-SK" altLang="en-US" sz="2000" b="1" dirty="0">
                <a:solidFill>
                  <a:srgbClr val="002060"/>
                </a:solidFill>
                <a:latin typeface="+mj-lt"/>
              </a:rPr>
              <a:t> </a:t>
            </a:r>
            <a:r>
              <a:rPr lang="sk-SK" altLang="en-US" sz="2000" b="1" dirty="0" err="1">
                <a:solidFill>
                  <a:srgbClr val="002060"/>
                </a:solidFill>
                <a:latin typeface="+mj-lt"/>
              </a:rPr>
              <a:t>infrastruktur</a:t>
            </a:r>
            <a:r>
              <a:rPr lang="sk-SK" altLang="en-US" sz="2000" b="1" dirty="0">
                <a:solidFill>
                  <a:srgbClr val="002060"/>
                </a:solidFill>
                <a:latin typeface="+mj-lt"/>
              </a:rPr>
              <a:t> v </a:t>
            </a:r>
            <a:r>
              <a:rPr lang="sk-SK" altLang="en-US" sz="2000" b="1" dirty="0" err="1">
                <a:solidFill>
                  <a:srgbClr val="002060"/>
                </a:solidFill>
                <a:latin typeface="+mj-lt"/>
              </a:rPr>
              <a:t>našem</a:t>
            </a:r>
            <a:r>
              <a:rPr lang="sk-SK" altLang="en-US" sz="2000" b="1" dirty="0">
                <a:solidFill>
                  <a:srgbClr val="002060"/>
                </a:solidFill>
                <a:latin typeface="+mj-lt"/>
              </a:rPr>
              <a:t> segmentu na </a:t>
            </a:r>
            <a:r>
              <a:rPr lang="sk-SK" altLang="en-US" sz="2000" b="1" dirty="0" err="1">
                <a:solidFill>
                  <a:srgbClr val="002060"/>
                </a:solidFill>
                <a:latin typeface="+mj-lt"/>
              </a:rPr>
              <a:t>světě</a:t>
            </a:r>
            <a:r>
              <a:rPr lang="sk-SK" altLang="en-US" sz="2000" b="1" dirty="0">
                <a:solidFill>
                  <a:srgbClr val="002060"/>
                </a:solidFill>
                <a:latin typeface="+mj-lt"/>
              </a:rPr>
              <a:t>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k-SK" altLang="en-US" sz="2000" b="1" dirty="0">
              <a:solidFill>
                <a:srgbClr val="00206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k-SK" altLang="en-US" sz="2000" b="1" dirty="0">
                <a:solidFill>
                  <a:srgbClr val="002060"/>
                </a:solidFill>
                <a:latin typeface="+mj-lt"/>
              </a:rPr>
              <a:t>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k-SK" altLang="en-US" sz="2000" b="1" dirty="0">
              <a:solidFill>
                <a:srgbClr val="00206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k-SK" altLang="en-US" sz="2000" b="1" dirty="0">
              <a:solidFill>
                <a:srgbClr val="00206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k-SK" altLang="en-US" sz="2000" b="1" dirty="0">
              <a:solidFill>
                <a:srgbClr val="00206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k-SK" altLang="en-US" sz="20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2E8D22E0-D8DE-4DD3-BDC5-3A4DD9AF71EA}"/>
              </a:ext>
            </a:extLst>
          </p:cNvPr>
          <p:cNvSpPr txBox="1"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5873370" y="3955700"/>
            <a:ext cx="6041294" cy="1249391"/>
          </a:xfrm>
          <a:prstGeom prst="rect">
            <a:avLst/>
          </a:prstGeom>
          <a:solidFill>
            <a:schemeClr val="bg2"/>
          </a:solidFill>
        </p:spPr>
        <p:txBody>
          <a:bodyPr vert="horz" lIns="216000" tIns="144000" rIns="216000" bIns="144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k-SK" sz="2000" b="1" i="0" dirty="0" err="1">
                <a:solidFill>
                  <a:srgbClr val="002060"/>
                </a:solidFill>
              </a:rPr>
              <a:t>Prostřednictvím</a:t>
            </a:r>
            <a:r>
              <a:rPr lang="sk-SK" sz="2000" b="1" i="0" dirty="0">
                <a:solidFill>
                  <a:srgbClr val="002060"/>
                </a:solidFill>
              </a:rPr>
              <a:t> </a:t>
            </a:r>
            <a:r>
              <a:rPr lang="sk-SK" sz="2000" b="1" i="0" dirty="0" err="1">
                <a:solidFill>
                  <a:srgbClr val="002060"/>
                </a:solidFill>
              </a:rPr>
              <a:t>sběrnic</a:t>
            </a:r>
            <a:r>
              <a:rPr lang="sk-SK" sz="2000" b="1" i="0" dirty="0">
                <a:solidFill>
                  <a:srgbClr val="002060"/>
                </a:solidFill>
              </a:rPr>
              <a:t> </a:t>
            </a:r>
            <a:r>
              <a:rPr lang="sk-SK" sz="2000" b="1" i="0" dirty="0" err="1">
                <a:solidFill>
                  <a:srgbClr val="002060"/>
                </a:solidFill>
              </a:rPr>
              <a:t>dat</a:t>
            </a:r>
            <a:r>
              <a:rPr lang="sk-SK" sz="2000" b="1" i="0" dirty="0">
                <a:solidFill>
                  <a:srgbClr val="002060"/>
                </a:solidFill>
              </a:rPr>
              <a:t> </a:t>
            </a:r>
            <a:r>
              <a:rPr lang="sk-SK" sz="2000" b="1" i="0" dirty="0" err="1">
                <a:solidFill>
                  <a:srgbClr val="002060"/>
                </a:solidFill>
              </a:rPr>
              <a:t>odečítáme</a:t>
            </a:r>
            <a:r>
              <a:rPr lang="sk-SK" sz="2000" b="1" i="0" dirty="0">
                <a:solidFill>
                  <a:srgbClr val="002060"/>
                </a:solidFill>
              </a:rPr>
              <a:t> v České </a:t>
            </a:r>
            <a:r>
              <a:rPr lang="sk-SK" sz="2000" b="1" i="0" dirty="0" err="1">
                <a:solidFill>
                  <a:srgbClr val="002060"/>
                </a:solidFill>
              </a:rPr>
              <a:t>republice</a:t>
            </a:r>
            <a:r>
              <a:rPr lang="sk-SK" sz="2000" b="1" i="0" dirty="0">
                <a:solidFill>
                  <a:srgbClr val="002060"/>
                </a:solidFill>
              </a:rPr>
              <a:t> </a:t>
            </a:r>
            <a:r>
              <a:rPr lang="sk-SK" sz="2000" b="1" i="0" dirty="0" err="1">
                <a:solidFill>
                  <a:srgbClr val="002060"/>
                </a:solidFill>
              </a:rPr>
              <a:t>více</a:t>
            </a:r>
            <a:r>
              <a:rPr lang="sk-SK" sz="2000" b="1" i="0" dirty="0">
                <a:solidFill>
                  <a:srgbClr val="002060"/>
                </a:solidFill>
              </a:rPr>
              <a:t> než </a:t>
            </a:r>
            <a:r>
              <a:rPr kumimoji="0" lang="sk-SK" sz="2400" b="1" i="0" u="none" strike="noStrike" kern="1200" cap="none" spc="5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550 000 </a:t>
            </a:r>
            <a:r>
              <a:rPr kumimoji="0" lang="sk-SK" sz="2400" b="1" i="0" u="none" strike="noStrike" kern="1200" cap="none" spc="50" normalizeH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přístrojů</a:t>
            </a:r>
            <a:r>
              <a:rPr kumimoji="0" lang="sk-SK" sz="1800" b="1" i="0" u="none" strike="noStrike" kern="1200" cap="none" spc="5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. </a:t>
            </a:r>
            <a:endParaRPr kumimoji="0" lang="de-DE" sz="1800" b="1" i="0" u="none" strike="noStrike" kern="1200" cap="none" spc="5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7" name="Obrázok 6">
            <a:extLst>
              <a:ext uri="{FF2B5EF4-FFF2-40B4-BE49-F238E27FC236}">
                <a16:creationId xmlns:a16="http://schemas.microsoft.com/office/drawing/2014/main" id="{6314C246-F7C0-4A5F-BDE0-F275A3450CF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8244" y="3826138"/>
            <a:ext cx="1079110" cy="1409700"/>
          </a:xfrm>
          <a:prstGeom prst="rect">
            <a:avLst/>
          </a:prstGeom>
        </p:spPr>
      </p:pic>
      <p:pic>
        <p:nvPicPr>
          <p:cNvPr id="11" name="Obrázek 10" descr="Obsah obrázku kreslení&#10;&#10;Popis byl vytvořen automaticky">
            <a:extLst>
              <a:ext uri="{FF2B5EF4-FFF2-40B4-BE49-F238E27FC236}">
                <a16:creationId xmlns:a16="http://schemas.microsoft.com/office/drawing/2014/main" id="{CF5F153E-44FB-4D43-940C-E71EA7618C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24392" y="5857543"/>
            <a:ext cx="2448272" cy="955833"/>
          </a:xfrm>
          <a:prstGeom prst="rect">
            <a:avLst/>
          </a:prstGeom>
        </p:spPr>
      </p:pic>
      <p:pic>
        <p:nvPicPr>
          <p:cNvPr id="4" name="Obrázek 3" descr="Obsah obrázku počítač&#10;&#10;Popis byl vytvořen automaticky">
            <a:extLst>
              <a:ext uri="{FF2B5EF4-FFF2-40B4-BE49-F238E27FC236}">
                <a16:creationId xmlns:a16="http://schemas.microsoft.com/office/drawing/2014/main" id="{A04AE0B3-BF94-4FEE-B729-12087B5434A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80" y="-27384"/>
            <a:ext cx="4752528" cy="6885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312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Zástupný symbol textu 3"/>
          <p:cNvSpPr txBox="1">
            <a:spLocks/>
          </p:cNvSpPr>
          <p:nvPr/>
        </p:nvSpPr>
        <p:spPr>
          <a:xfrm>
            <a:off x="2056089" y="2255304"/>
            <a:ext cx="5717962" cy="2065133"/>
          </a:xfrm>
          <a:prstGeom prst="rect">
            <a:avLst/>
          </a:prstGeom>
        </p:spPr>
        <p:txBody>
          <a:bodyPr vert="horz" lIns="78203" tIns="39101" rIns="78203" bIns="39101" rtlCol="0">
            <a:noAutofit/>
          </a:bodyPr>
          <a:lstStyle>
            <a:lvl1pPr marL="0" indent="0" algn="l" defTabSz="1007943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None/>
              <a:defRPr sz="17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2" indent="0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54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7943" indent="0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32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1915" indent="0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1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5886" indent="0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1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58" indent="0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1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3829" indent="0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1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7801" indent="0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1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1772" indent="0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None/>
              <a:defRPr sz="11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4373" indent="-244373" fontAlgn="base">
              <a:lnSpc>
                <a:spcPct val="100000"/>
              </a:lnSpc>
              <a:spcAft>
                <a:spcPct val="0"/>
              </a:spcAft>
              <a:buFont typeface="Wingdings" panose="05000000000000000000" pitchFamily="2" charset="2"/>
              <a:buChar char="§"/>
            </a:pPr>
            <a:endParaRPr lang="sk-SK" sz="1368" b="1" u="sng" dirty="0">
              <a:solidFill>
                <a:srgbClr val="002060"/>
              </a:solidFill>
              <a:latin typeface="Ista TheSansCE Bold" pitchFamily="34" charset="0"/>
            </a:endParaRPr>
          </a:p>
        </p:txBody>
      </p:sp>
      <p:sp>
        <p:nvSpPr>
          <p:cNvPr id="3" name="Zástupný symbol textu 2"/>
          <p:cNvSpPr>
            <a:spLocks noGrp="1"/>
          </p:cNvSpPr>
          <p:nvPr>
            <p:ph type="body" sz="half" idx="2"/>
          </p:nvPr>
        </p:nvSpPr>
        <p:spPr>
          <a:xfrm>
            <a:off x="2153842" y="1966981"/>
            <a:ext cx="2949178" cy="3762287"/>
          </a:xfrm>
        </p:spPr>
        <p:txBody>
          <a:bodyPr/>
          <a:lstStyle/>
          <a:p>
            <a:endParaRPr lang="sk-SK" dirty="0"/>
          </a:p>
          <a:p>
            <a:endParaRPr lang="sk-SK" dirty="0"/>
          </a:p>
          <a:p>
            <a:pPr marL="244373" indent="-244373">
              <a:buFont typeface="Wingdings" panose="05000000000000000000" pitchFamily="2" charset="2"/>
              <a:buChar char="ü"/>
            </a:pPr>
            <a:endParaRPr lang="sk-SK" dirty="0"/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CC82FEBE-C9E8-4AB3-885F-662310B480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7334606"/>
              </p:ext>
            </p:extLst>
          </p:nvPr>
        </p:nvGraphicFramePr>
        <p:xfrm>
          <a:off x="2431619" y="1236275"/>
          <a:ext cx="8236485" cy="4564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0" name="Nadpis 3">
            <a:extLst>
              <a:ext uri="{FF2B5EF4-FFF2-40B4-BE49-F238E27FC236}">
                <a16:creationId xmlns:a16="http://schemas.microsoft.com/office/drawing/2014/main" id="{3109FD68-CF32-4AE6-A6BB-954B52E28EEE}"/>
              </a:ext>
            </a:extLst>
          </p:cNvPr>
          <p:cNvSpPr txBox="1">
            <a:spLocks/>
          </p:cNvSpPr>
          <p:nvPr/>
        </p:nvSpPr>
        <p:spPr bwMode="gray">
          <a:xfrm>
            <a:off x="1970590" y="198030"/>
            <a:ext cx="7789791" cy="1052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 baseline="0">
                <a:solidFill>
                  <a:srgbClr val="0A2864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2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endParaRPr lang="sk-SK" sz="2400" dirty="0">
              <a:solidFill>
                <a:srgbClr val="002060"/>
              </a:solidFill>
              <a:latin typeface="Arial"/>
            </a:endParaRPr>
          </a:p>
        </p:txBody>
      </p:sp>
      <p:sp>
        <p:nvSpPr>
          <p:cNvPr id="4" name="BlokTextu 3">
            <a:extLst>
              <a:ext uri="{FF2B5EF4-FFF2-40B4-BE49-F238E27FC236}">
                <a16:creationId xmlns:a16="http://schemas.microsoft.com/office/drawing/2014/main" id="{3B2F5781-1D4D-49A3-9FB7-A3F5A935E6BD}"/>
              </a:ext>
            </a:extLst>
          </p:cNvPr>
          <p:cNvSpPr txBox="1"/>
          <p:nvPr/>
        </p:nvSpPr>
        <p:spPr>
          <a:xfrm>
            <a:off x="2362189" y="412294"/>
            <a:ext cx="40653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k-SK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PROČ </a:t>
            </a:r>
            <a:r>
              <a:rPr lang="sk-SK" sz="2800" b="1" dirty="0">
                <a:solidFill>
                  <a:schemeClr val="accent3"/>
                </a:solidFill>
                <a:latin typeface="Arial Black" panose="020B0A04020102020204" pitchFamily="34" charset="0"/>
              </a:rPr>
              <a:t>DENNÍ</a:t>
            </a:r>
            <a:r>
              <a:rPr lang="sk-SK" sz="2800" b="1" dirty="0">
                <a:solidFill>
                  <a:srgbClr val="002060"/>
                </a:solidFill>
                <a:latin typeface="Arial Black" panose="020B0A04020102020204" pitchFamily="34" charset="0"/>
              </a:rPr>
              <a:t> DATA?</a:t>
            </a:r>
          </a:p>
        </p:txBody>
      </p:sp>
      <p:sp>
        <p:nvSpPr>
          <p:cNvPr id="9" name="Freihandform: Form 73">
            <a:extLst>
              <a:ext uri="{FF2B5EF4-FFF2-40B4-BE49-F238E27FC236}">
                <a16:creationId xmlns:a16="http://schemas.microsoft.com/office/drawing/2014/main" id="{EED11BA1-6E0A-4268-B966-33263947C435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0" y="0"/>
            <a:ext cx="2011000" cy="1918167"/>
          </a:xfrm>
          <a:custGeom>
            <a:avLst/>
            <a:gdLst>
              <a:gd name="connsiteX0" fmla="*/ 0 w 2011000"/>
              <a:gd name="connsiteY0" fmla="*/ 0 h 1918167"/>
              <a:gd name="connsiteX1" fmla="*/ 2010827 w 2011000"/>
              <a:gd name="connsiteY1" fmla="*/ 0 h 1918167"/>
              <a:gd name="connsiteX2" fmla="*/ 2011000 w 2011000"/>
              <a:gd name="connsiteY2" fmla="*/ 1 h 1918167"/>
              <a:gd name="connsiteX3" fmla="*/ 2010490 w 2011000"/>
              <a:gd name="connsiteY3" fmla="*/ 2192 h 1918167"/>
              <a:gd name="connsiteX4" fmla="*/ 1613969 w 2011000"/>
              <a:gd name="connsiteY4" fmla="*/ 1718551 h 1918167"/>
              <a:gd name="connsiteX5" fmla="*/ 100839 w 2011000"/>
              <a:gd name="connsiteY5" fmla="*/ 1904886 h 1918167"/>
              <a:gd name="connsiteX6" fmla="*/ 0 w 2011000"/>
              <a:gd name="connsiteY6" fmla="*/ 1918167 h 191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000" h="1918167">
                <a:moveTo>
                  <a:pt x="0" y="0"/>
                </a:moveTo>
                <a:lnTo>
                  <a:pt x="2010827" y="0"/>
                </a:lnTo>
                <a:lnTo>
                  <a:pt x="2011000" y="1"/>
                </a:lnTo>
                <a:lnTo>
                  <a:pt x="2010490" y="2192"/>
                </a:lnTo>
                <a:cubicBezTo>
                  <a:pt x="1990893" y="86304"/>
                  <a:pt x="1827448" y="788274"/>
                  <a:pt x="1613969" y="1718551"/>
                </a:cubicBezTo>
                <a:cubicBezTo>
                  <a:pt x="1291325" y="1752645"/>
                  <a:pt x="714458" y="1824808"/>
                  <a:pt x="100839" y="1904886"/>
                </a:cubicBezTo>
                <a:lnTo>
                  <a:pt x="0" y="1918167"/>
                </a:lnTo>
                <a:close/>
              </a:path>
            </a:pathLst>
          </a:custGeom>
          <a:solidFill>
            <a:srgbClr val="84B4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ihandform: Form 75">
            <a:extLst>
              <a:ext uri="{FF2B5EF4-FFF2-40B4-BE49-F238E27FC236}">
                <a16:creationId xmlns:a16="http://schemas.microsoft.com/office/drawing/2014/main" id="{09F1344A-8BB1-4E9B-BC0E-0B9CEC14AF99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2990848"/>
            <a:ext cx="1318727" cy="3867151"/>
          </a:xfrm>
          <a:custGeom>
            <a:avLst/>
            <a:gdLst>
              <a:gd name="connsiteX0" fmla="*/ 1318727 w 1318727"/>
              <a:gd name="connsiteY0" fmla="*/ 0 h 3867151"/>
              <a:gd name="connsiteX1" fmla="*/ 409828 w 1318727"/>
              <a:gd name="connsiteY1" fmla="*/ 3857249 h 3867151"/>
              <a:gd name="connsiteX2" fmla="*/ 407381 w 1318727"/>
              <a:gd name="connsiteY2" fmla="*/ 3867151 h 3867151"/>
              <a:gd name="connsiteX3" fmla="*/ 0 w 1318727"/>
              <a:gd name="connsiteY3" fmla="*/ 3867151 h 3867151"/>
              <a:gd name="connsiteX4" fmla="*/ 0 w 1318727"/>
              <a:gd name="connsiteY4" fmla="*/ 365009 h 3867151"/>
              <a:gd name="connsiteX5" fmla="*/ 57288 w 1318727"/>
              <a:gd name="connsiteY5" fmla="*/ 347329 h 3867151"/>
              <a:gd name="connsiteX6" fmla="*/ 1318727 w 1318727"/>
              <a:gd name="connsiteY6" fmla="*/ 0 h 386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8727" h="3867151">
                <a:moveTo>
                  <a:pt x="1318727" y="0"/>
                </a:moveTo>
                <a:cubicBezTo>
                  <a:pt x="920655" y="1690862"/>
                  <a:pt x="472719" y="3599640"/>
                  <a:pt x="409828" y="3857249"/>
                </a:cubicBezTo>
                <a:lnTo>
                  <a:pt x="407381" y="3867151"/>
                </a:lnTo>
                <a:lnTo>
                  <a:pt x="0" y="3867151"/>
                </a:lnTo>
                <a:lnTo>
                  <a:pt x="0" y="365009"/>
                </a:lnTo>
                <a:lnTo>
                  <a:pt x="57288" y="347329"/>
                </a:lnTo>
                <a:cubicBezTo>
                  <a:pt x="500989" y="213462"/>
                  <a:pt x="904284" y="104053"/>
                  <a:pt x="1318727" y="0"/>
                </a:cubicBezTo>
                <a:close/>
              </a:path>
            </a:pathLst>
          </a:custGeom>
          <a:solidFill>
            <a:srgbClr val="0A286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6974E687-22F4-4636-A994-789325AB0EF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776520" y="5757796"/>
            <a:ext cx="1231499" cy="98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0394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ok 5" descr="Obrázok, na ktorom je vonkajšie, budova, stôl, strom&#10;&#10;Automaticky generovaný popis">
            <a:extLst>
              <a:ext uri="{FF2B5EF4-FFF2-40B4-BE49-F238E27FC236}">
                <a16:creationId xmlns:a16="http://schemas.microsoft.com/office/drawing/2014/main" id="{6AFC5069-725E-4E64-A9F7-029B8FE44EB5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231" y="-20738"/>
            <a:ext cx="3724756" cy="6878737"/>
          </a:xfrm>
          <a:prstGeom prst="rect">
            <a:avLst/>
          </a:prstGeom>
        </p:spPr>
      </p:pic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6EE3E9AF-C269-482F-8C9A-E633D0B3826D}"/>
              </a:ext>
            </a:extLst>
          </p:cNvPr>
          <p:cNvSpPr txBox="1"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9961117" y="2812781"/>
            <a:ext cx="1962139" cy="3373548"/>
          </a:xfrm>
          <a:prstGeom prst="rect">
            <a:avLst/>
          </a:prstGeom>
          <a:solidFill>
            <a:schemeClr val="tx1"/>
          </a:solidFill>
        </p:spPr>
        <p:txBody>
          <a:bodyPr vert="horz" lIns="216000" tIns="144000" rIns="216000" bIns="144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1" i="0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1E9F2F1-63EA-411F-80C5-76DB498AFBF3}"/>
              </a:ext>
            </a:extLst>
          </p:cNvPr>
          <p:cNvSpPr txBox="1"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8110435" y="2806301"/>
            <a:ext cx="1789262" cy="3373548"/>
          </a:xfrm>
          <a:prstGeom prst="rect">
            <a:avLst/>
          </a:prstGeom>
          <a:solidFill>
            <a:srgbClr val="9DC333"/>
          </a:solidFill>
        </p:spPr>
        <p:txBody>
          <a:bodyPr vert="horz" lIns="216000" tIns="144000" rIns="216000" bIns="144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1" i="0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680B0CEB-A7E8-4BF5-B389-51F0E5C87186}"/>
              </a:ext>
            </a:extLst>
          </p:cNvPr>
          <p:cNvSpPr txBox="1"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351215" y="2806637"/>
            <a:ext cx="1789262" cy="3373548"/>
          </a:xfrm>
          <a:prstGeom prst="rect">
            <a:avLst/>
          </a:prstGeom>
          <a:solidFill>
            <a:srgbClr val="9DC333"/>
          </a:solidFill>
        </p:spPr>
        <p:txBody>
          <a:bodyPr vert="horz" lIns="216000" tIns="144000" rIns="216000" bIns="144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1" i="0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2303DA55-31F2-4142-A673-8E3C12582B30}"/>
              </a:ext>
            </a:extLst>
          </p:cNvPr>
          <p:cNvSpPr txBox="1"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6219332" y="2811435"/>
            <a:ext cx="1803598" cy="3373548"/>
          </a:xfrm>
          <a:prstGeom prst="rect">
            <a:avLst/>
          </a:prstGeom>
          <a:solidFill>
            <a:schemeClr val="tx1"/>
          </a:solidFill>
        </p:spPr>
        <p:txBody>
          <a:bodyPr vert="horz" lIns="216000" tIns="144000" rIns="216000" bIns="144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400" b="1" i="0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CAED4C3E-AA97-41AD-BDE8-218A179926D0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 bwMode="gray">
          <a:xfrm>
            <a:off x="6223124" y="1721467"/>
            <a:ext cx="1799365" cy="1033263"/>
          </a:xfrm>
          <a:prstGeom prst="rect">
            <a:avLst/>
          </a:prstGeom>
          <a:solidFill>
            <a:srgbClr val="9DC333"/>
          </a:solidFill>
        </p:spPr>
        <p:txBody>
          <a:bodyPr vert="horz" lIns="216000" tIns="144000" rIns="216000" bIns="144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k-SK" sz="1400" b="1" i="0" u="none" strike="noStrike" kern="1200" cap="none" spc="5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Odečty</a:t>
            </a:r>
            <a:r>
              <a:rPr kumimoji="0" lang="sk-SK" sz="1400" b="1" i="0" u="none" strike="noStrike" kern="1200" cap="none" spc="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</a:t>
            </a:r>
            <a:r>
              <a:rPr kumimoji="0" lang="sk-SK" sz="1400" b="1" i="0" u="none" strike="noStrike" kern="1200" cap="none" spc="5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spotřeby</a:t>
            </a:r>
            <a:r>
              <a:rPr kumimoji="0" lang="sk-SK" sz="1400" b="1" i="0" u="none" strike="noStrike" kern="1200" cap="none" spc="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</a:t>
            </a:r>
            <a:endParaRPr kumimoji="0" lang="de-DE" sz="1400" b="1" i="0" u="none" strike="noStrike" kern="1200" cap="none" spc="5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46C457EA-9EB9-48AC-AD3B-0CA255C6D87E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6343380" y="2570079"/>
            <a:ext cx="1789262" cy="1703338"/>
          </a:xfrm>
          <a:prstGeom prst="rect">
            <a:avLst/>
          </a:prstGeom>
          <a:noFill/>
        </p:spPr>
        <p:txBody>
          <a:bodyPr wrap="square" lIns="0" tIns="0" rIns="0" bIns="252000" rtlCol="0" anchor="b" anchorCtr="0">
            <a:noAutofit/>
          </a:bodyPr>
          <a:lstStyle/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 err="1">
                <a:solidFill>
                  <a:schemeClr val="bg1"/>
                </a:solidFill>
                <a:latin typeface="Arial" panose="020B0604020202020204" pitchFamily="34" charset="0"/>
              </a:rPr>
              <a:t>Sběrnice</a:t>
            </a:r>
            <a:r>
              <a:rPr lang="sk-SK" sz="1600" b="1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sk-SK" sz="1600" b="1" dirty="0" err="1">
                <a:solidFill>
                  <a:schemeClr val="bg1"/>
                </a:solidFill>
                <a:latin typeface="Arial" panose="020B0604020202020204" pitchFamily="34" charset="0"/>
              </a:rPr>
              <a:t>dat</a:t>
            </a:r>
            <a:endParaRPr lang="sk-SK" sz="16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solidFill>
                  <a:schemeClr val="bg1"/>
                </a:solidFill>
                <a:latin typeface="Arial" panose="020B0604020202020204" pitchFamily="34" charset="0"/>
              </a:rPr>
              <a:t>M-</a:t>
            </a:r>
            <a:r>
              <a:rPr lang="sk-SK" sz="1600" b="1" dirty="0" err="1">
                <a:solidFill>
                  <a:schemeClr val="bg1"/>
                </a:solidFill>
                <a:latin typeface="Arial" panose="020B0604020202020204" pitchFamily="34" charset="0"/>
              </a:rPr>
              <a:t>bus</a:t>
            </a:r>
            <a:endParaRPr lang="sk-SK" sz="16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8B12E16C-64CF-4C8C-A098-1450428EB657}"/>
              </a:ext>
            </a:extLst>
          </p:cNvPr>
          <p:cNvSpPr txBox="1">
            <a:spLocks noChangeAspect="1"/>
          </p:cNvSpPr>
          <p:nvPr>
            <p:custDataLst>
              <p:tags r:id="rId7"/>
            </p:custDataLst>
          </p:nvPr>
        </p:nvSpPr>
        <p:spPr bwMode="gray">
          <a:xfrm>
            <a:off x="4351215" y="1721467"/>
            <a:ext cx="1789262" cy="1033263"/>
          </a:xfrm>
          <a:prstGeom prst="rect">
            <a:avLst/>
          </a:prstGeom>
          <a:solidFill>
            <a:schemeClr val="tx1"/>
          </a:solidFill>
        </p:spPr>
        <p:txBody>
          <a:bodyPr vert="horz" lIns="216000" tIns="144000" rIns="216000" bIns="144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k-SK" sz="1400" b="1" i="0" u="none" strike="noStrike" kern="1200" cap="none" spc="5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</a:rPr>
              <a:t>Měření</a:t>
            </a:r>
            <a:r>
              <a:rPr kumimoji="0" lang="sk-SK" sz="1400" b="1" i="0" u="none" strike="noStrike" kern="1200" cap="none" spc="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</a:rPr>
              <a:t> </a:t>
            </a:r>
            <a:r>
              <a:rPr kumimoji="0" lang="sk-SK" sz="1400" b="1" i="0" u="none" strike="noStrike" kern="1200" cap="none" spc="50" normalizeH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</a:rPr>
              <a:t>spotřeby</a:t>
            </a:r>
            <a:endParaRPr kumimoji="0" lang="de-DE" sz="1400" b="1" i="0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8B352AE-6370-462B-B5B1-1024E34FAAB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671328" y="3005887"/>
            <a:ext cx="1136704" cy="1864772"/>
          </a:xfrm>
          <a:prstGeom prst="rect">
            <a:avLst/>
          </a:prstGeom>
          <a:noFill/>
        </p:spPr>
        <p:txBody>
          <a:bodyPr wrap="square" lIns="0" tIns="252000" rIns="0" bIns="0" rtlCol="0">
            <a:noAutofit/>
          </a:bodyPr>
          <a:lstStyle/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solidFill>
                  <a:srgbClr val="002060"/>
                </a:solidFill>
                <a:latin typeface="Arial" panose="020B0604020202020204" pitchFamily="34" charset="0"/>
              </a:rPr>
              <a:t>teplo</a:t>
            </a:r>
          </a:p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solidFill>
                  <a:srgbClr val="002060"/>
                </a:solidFill>
                <a:latin typeface="Arial" panose="020B0604020202020204" pitchFamily="34" charset="0"/>
              </a:rPr>
              <a:t>voda</a:t>
            </a:r>
          </a:p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solidFill>
                  <a:srgbClr val="002060"/>
                </a:solidFill>
                <a:latin typeface="Arial" panose="020B0604020202020204" pitchFamily="34" charset="0"/>
              </a:rPr>
              <a:t>chlad</a:t>
            </a:r>
          </a:p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solidFill>
                  <a:srgbClr val="002060"/>
                </a:solidFill>
                <a:latin typeface="Arial" panose="020B0604020202020204" pitchFamily="34" charset="0"/>
              </a:rPr>
              <a:t>plyn</a:t>
            </a:r>
          </a:p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elektřina</a:t>
            </a:r>
            <a:endParaRPr lang="de-DE" sz="16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86B1937-0A63-4B20-A5D2-09319DCA26D4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4364425" y="1196800"/>
            <a:ext cx="7344965" cy="720032"/>
          </a:xfrm>
        </p:spPr>
        <p:txBody>
          <a:bodyPr/>
          <a:lstStyle/>
          <a:p>
            <a:r>
              <a:rPr lang="sk-SK" dirty="0"/>
              <a:t>Naše </a:t>
            </a:r>
            <a:r>
              <a:rPr lang="sk-SK" dirty="0">
                <a:solidFill>
                  <a:srgbClr val="84B400"/>
                </a:solidFill>
              </a:rPr>
              <a:t>služby</a:t>
            </a:r>
            <a:endParaRPr lang="de-DE" dirty="0">
              <a:solidFill>
                <a:srgbClr val="84B400"/>
              </a:solidFill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67B2AF9-DAB7-4741-9DD9-E2AED23B794E}"/>
              </a:ext>
            </a:extLst>
          </p:cNvPr>
          <p:cNvSpPr>
            <a:spLocks noGrp="1"/>
          </p:cNvSpPr>
          <p:nvPr>
            <p:ph type="body" sz="quarter" idx="15"/>
            <p:custDataLst>
              <p:tags r:id="rId10"/>
            </p:custDataLst>
          </p:nvPr>
        </p:nvSpPr>
        <p:spPr bwMode="gray"/>
        <p:txBody>
          <a:bodyPr/>
          <a:lstStyle/>
          <a:p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DC66D2CB-CBDB-4445-B0DB-47F420D6A102}"/>
              </a:ext>
            </a:extLst>
          </p:cNvPr>
          <p:cNvSpPr txBox="1">
            <a:spLocks noChangeAspect="1"/>
          </p:cNvSpPr>
          <p:nvPr>
            <p:custDataLst>
              <p:tags r:id="rId11"/>
            </p:custDataLst>
          </p:nvPr>
        </p:nvSpPr>
        <p:spPr bwMode="gray">
          <a:xfrm>
            <a:off x="8105136" y="1717307"/>
            <a:ext cx="1789262" cy="1033263"/>
          </a:xfrm>
          <a:prstGeom prst="rect">
            <a:avLst/>
          </a:prstGeom>
          <a:solidFill>
            <a:schemeClr val="tx1"/>
          </a:solidFill>
        </p:spPr>
        <p:txBody>
          <a:bodyPr vert="horz" lIns="216000" tIns="144000" rIns="216000" bIns="144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k-SK" sz="1400" b="1" i="0" u="none" strike="noStrike" kern="1200" cap="none" spc="5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</a:rPr>
              <a:t>Rozúčtování</a:t>
            </a:r>
            <a:r>
              <a:rPr kumimoji="0" lang="sk-SK" sz="1400" b="1" i="0" u="none" strike="noStrike" kern="1200" cap="none" spc="5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</a:rPr>
              <a:t> </a:t>
            </a:r>
            <a:r>
              <a:rPr kumimoji="0" lang="sk-SK" sz="1400" b="1" i="0" u="none" strike="noStrike" kern="1200" cap="none" spc="50" normalizeH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</a:rPr>
              <a:t>nákladů</a:t>
            </a:r>
            <a:endParaRPr kumimoji="0" lang="de-DE" sz="1400" b="1" i="0" u="none" strike="noStrike" kern="1200" cap="none" spc="5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1EB725DE-A50C-4770-9020-AEC1D6A9A84E}"/>
              </a:ext>
            </a:extLst>
          </p:cNvPr>
          <p:cNvSpPr txBox="1">
            <a:spLocks noChangeAspect="1"/>
          </p:cNvSpPr>
          <p:nvPr>
            <p:custDataLst>
              <p:tags r:id="rId12"/>
            </p:custDataLst>
          </p:nvPr>
        </p:nvSpPr>
        <p:spPr bwMode="gray">
          <a:xfrm>
            <a:off x="9961117" y="1717306"/>
            <a:ext cx="1962139" cy="1033263"/>
          </a:xfrm>
          <a:prstGeom prst="rect">
            <a:avLst/>
          </a:prstGeom>
          <a:solidFill>
            <a:srgbClr val="9DC333"/>
          </a:solidFill>
        </p:spPr>
        <p:txBody>
          <a:bodyPr vert="horz" lIns="216000" tIns="144000" rIns="216000" bIns="144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80000" algn="l" defTabSz="914400" rtl="0" eaLnBrk="1" latinLnBrk="0" hangingPunct="1"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8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k-SK" sz="1400" b="1" i="0" u="none" strike="noStrike" kern="1200" cap="none" spc="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nergetický</a:t>
            </a:r>
            <a:r>
              <a:rPr kumimoji="0" lang="sk-SK" sz="1400" b="1" i="0" u="none" strike="noStrike" kern="1200" cap="none" spc="50" normalizeH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 management</a:t>
            </a:r>
          </a:p>
        </p:txBody>
      </p:sp>
      <p:sp>
        <p:nvSpPr>
          <p:cNvPr id="17" name="Textfeld 23">
            <a:extLst>
              <a:ext uri="{FF2B5EF4-FFF2-40B4-BE49-F238E27FC236}">
                <a16:creationId xmlns:a16="http://schemas.microsoft.com/office/drawing/2014/main" id="{8950D6B0-A3C3-4886-8F55-5C98AF41C6A3}"/>
              </a:ext>
            </a:extLst>
          </p:cNvPr>
          <p:cNvSpPr txBox="1"/>
          <p:nvPr>
            <p:custDataLst>
              <p:tags r:id="rId13"/>
            </p:custDataLst>
          </p:nvPr>
        </p:nvSpPr>
        <p:spPr bwMode="gray">
          <a:xfrm>
            <a:off x="8256803" y="3000670"/>
            <a:ext cx="1983936" cy="1864772"/>
          </a:xfrm>
          <a:prstGeom prst="rect">
            <a:avLst/>
          </a:prstGeom>
          <a:noFill/>
        </p:spPr>
        <p:txBody>
          <a:bodyPr wrap="square" lIns="0" tIns="252000" rIns="0" bIns="0" rtlCol="0">
            <a:noAutofit/>
          </a:bodyPr>
          <a:lstStyle/>
          <a:p>
            <a:pPr marL="285750" lvl="0" indent="-285750" fontAlgn="base">
              <a:lnSpc>
                <a:spcPct val="150000"/>
              </a:lnSpc>
              <a:spcAft>
                <a:spcPts val="50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latin typeface="Arial" panose="020B0604020202020204" pitchFamily="34" charset="0"/>
              </a:rPr>
              <a:t>teplo</a:t>
            </a:r>
          </a:p>
          <a:p>
            <a:pPr marL="285750" lvl="0" indent="-285750" fontAlgn="base">
              <a:lnSpc>
                <a:spcPct val="150000"/>
              </a:lnSpc>
              <a:spcAft>
                <a:spcPts val="50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latin typeface="Arial" panose="020B0604020202020204" pitchFamily="34" charset="0"/>
              </a:rPr>
              <a:t>voda</a:t>
            </a:r>
          </a:p>
          <a:p>
            <a:pPr marL="285750" lvl="0" indent="-285750" fontAlgn="base">
              <a:lnSpc>
                <a:spcPct val="150000"/>
              </a:lnSpc>
              <a:spcAft>
                <a:spcPts val="50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latin typeface="Arial" panose="020B0604020202020204" pitchFamily="34" charset="0"/>
              </a:rPr>
              <a:t>chlad</a:t>
            </a:r>
          </a:p>
          <a:p>
            <a:pPr marL="285750" lvl="0" indent="-285750" fontAlgn="base">
              <a:lnSpc>
                <a:spcPct val="150000"/>
              </a:lnSpc>
              <a:spcAft>
                <a:spcPts val="500"/>
              </a:spcAft>
              <a:buClr>
                <a:srgbClr val="002060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latin typeface="Arial" panose="020B0604020202020204" pitchFamily="34" charset="0"/>
              </a:rPr>
              <a:t>náklady na </a:t>
            </a:r>
            <a:r>
              <a:rPr lang="sk-SK" sz="1600" b="1" dirty="0" err="1">
                <a:latin typeface="Arial" panose="020B0604020202020204" pitchFamily="34" charset="0"/>
              </a:rPr>
              <a:t>bydlení</a:t>
            </a:r>
            <a:endParaRPr lang="de-DE" sz="1600" b="1" dirty="0">
              <a:latin typeface="Arial" panose="020B0604020202020204" pitchFamily="34" charset="0"/>
            </a:endParaRPr>
          </a:p>
        </p:txBody>
      </p:sp>
      <p:sp>
        <p:nvSpPr>
          <p:cNvPr id="18" name="Textfeld 23">
            <a:extLst>
              <a:ext uri="{FF2B5EF4-FFF2-40B4-BE49-F238E27FC236}">
                <a16:creationId xmlns:a16="http://schemas.microsoft.com/office/drawing/2014/main" id="{55FF2D16-20E7-4006-AFDA-9C6120A17ECB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10108894" y="2562829"/>
            <a:ext cx="1789262" cy="1864772"/>
          </a:xfrm>
          <a:prstGeom prst="rect">
            <a:avLst/>
          </a:prstGeom>
          <a:noFill/>
        </p:spPr>
        <p:txBody>
          <a:bodyPr wrap="square" lIns="0" tIns="252000" rIns="0" bIns="0" rtlCol="0">
            <a:noAutofit/>
          </a:bodyPr>
          <a:lstStyle/>
          <a:p>
            <a:pPr lvl="0" fontAlgn="base">
              <a:lnSpc>
                <a:spcPct val="150000"/>
              </a:lnSpc>
              <a:spcAft>
                <a:spcPts val="500"/>
              </a:spcAft>
              <a:buClr>
                <a:schemeClr val="bg2"/>
              </a:buClr>
              <a:defRPr/>
            </a:pPr>
            <a:r>
              <a:rPr lang="sk-SK" sz="1600" dirty="0">
                <a:latin typeface="Arial" panose="020B0604020202020204" pitchFamily="34" charset="0"/>
              </a:rPr>
              <a:t>Monitoring: </a:t>
            </a:r>
          </a:p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 err="1">
                <a:solidFill>
                  <a:schemeClr val="bg1"/>
                </a:solidFill>
                <a:latin typeface="Arial" panose="020B0604020202020204" pitchFamily="34" charset="0"/>
              </a:rPr>
              <a:t>spotřeba</a:t>
            </a:r>
            <a:endParaRPr lang="sk-SK" sz="16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solidFill>
                  <a:schemeClr val="bg1"/>
                </a:solidFill>
                <a:latin typeface="Arial" panose="020B0604020202020204" pitchFamily="34" charset="0"/>
              </a:rPr>
              <a:t>únik vody </a:t>
            </a:r>
          </a:p>
          <a:p>
            <a:pPr marL="171450" lvl="0" indent="-171450" fontAlgn="base">
              <a:lnSpc>
                <a:spcPct val="150000"/>
              </a:lnSpc>
              <a:spcAft>
                <a:spcPts val="5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/>
            </a:pPr>
            <a:r>
              <a:rPr lang="sk-SK" sz="1600" b="1" dirty="0">
                <a:solidFill>
                  <a:schemeClr val="bg1"/>
                </a:solidFill>
                <a:latin typeface="Arial" panose="020B0604020202020204" pitchFamily="34" charset="0"/>
              </a:rPr>
              <a:t>efektivita </a:t>
            </a:r>
            <a:r>
              <a:rPr lang="sk-SK" sz="1600" b="1" dirty="0" err="1">
                <a:solidFill>
                  <a:schemeClr val="bg1"/>
                </a:solidFill>
                <a:latin typeface="Arial" panose="020B0604020202020204" pitchFamily="34" charset="0"/>
              </a:rPr>
              <a:t>kotelen</a:t>
            </a:r>
            <a:r>
              <a:rPr lang="sk-SK" sz="1600" b="1" dirty="0">
                <a:solidFill>
                  <a:schemeClr val="bg1"/>
                </a:solidFill>
                <a:latin typeface="Arial" panose="020B0604020202020204" pitchFamily="34" charset="0"/>
              </a:rPr>
              <a:t> a </a:t>
            </a:r>
            <a:r>
              <a:rPr lang="sk-SK" sz="1600" b="1" dirty="0" err="1">
                <a:solidFill>
                  <a:schemeClr val="bg1"/>
                </a:solidFill>
                <a:latin typeface="Arial" panose="020B0604020202020204" pitchFamily="34" charset="0"/>
              </a:rPr>
              <a:t>distribuce</a:t>
            </a:r>
            <a:r>
              <a:rPr lang="sk-SK" sz="1600" b="1" dirty="0">
                <a:solidFill>
                  <a:schemeClr val="bg1"/>
                </a:solidFill>
                <a:latin typeface="Arial" panose="020B0604020202020204" pitchFamily="34" charset="0"/>
              </a:rPr>
              <a:t> TV</a:t>
            </a:r>
            <a:endParaRPr lang="de-DE" sz="16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984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30DACFBB-25D6-47CD-BB33-0D43E995C8BA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808032" y="6453336"/>
            <a:ext cx="576000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algn="ctr"/>
            <a:fld id="{8FF9B0DE-3FEB-4AA0-B465-B80EF7C1333D}" type="slidenum">
              <a:rPr lang="de-DE" sz="800"/>
              <a:pPr algn="ctr"/>
              <a:t>6</a:t>
            </a:fld>
            <a:endParaRPr lang="de-DE" sz="800" dirty="0"/>
          </a:p>
        </p:txBody>
      </p:sp>
      <p:sp>
        <p:nvSpPr>
          <p:cNvPr id="14" name="Nadpis 21">
            <a:extLst>
              <a:ext uri="{FF2B5EF4-FFF2-40B4-BE49-F238E27FC236}">
                <a16:creationId xmlns:a16="http://schemas.microsoft.com/office/drawing/2014/main" id="{245AED57-FCB2-46DA-B133-588873303365}"/>
              </a:ext>
            </a:extLst>
          </p:cNvPr>
          <p:cNvSpPr txBox="1">
            <a:spLocks/>
          </p:cNvSpPr>
          <p:nvPr/>
        </p:nvSpPr>
        <p:spPr>
          <a:xfrm>
            <a:off x="4991062" y="1916832"/>
            <a:ext cx="6772783" cy="15121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altLang="en-US" kern="0" dirty="0" err="1">
                <a:solidFill>
                  <a:schemeClr val="bg2"/>
                </a:solidFill>
              </a:rPr>
              <a:t>rozúčtování</a:t>
            </a:r>
            <a:endParaRPr lang="sk-SK" dirty="0"/>
          </a:p>
        </p:txBody>
      </p:sp>
      <p:sp>
        <p:nvSpPr>
          <p:cNvPr id="15" name="Zástupný symbol textu 2">
            <a:extLst>
              <a:ext uri="{FF2B5EF4-FFF2-40B4-BE49-F238E27FC236}">
                <a16:creationId xmlns:a16="http://schemas.microsoft.com/office/drawing/2014/main" id="{5A5D3E18-CE04-488C-B8F0-028698BCEBA5}"/>
              </a:ext>
            </a:extLst>
          </p:cNvPr>
          <p:cNvSpPr txBox="1">
            <a:spLocks/>
          </p:cNvSpPr>
          <p:nvPr/>
        </p:nvSpPr>
        <p:spPr bwMode="gray">
          <a:xfrm>
            <a:off x="5081996" y="2559414"/>
            <a:ext cx="6480720" cy="3630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None/>
              <a:defRPr sz="1509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099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320">
                <a:solidFill>
                  <a:schemeClr val="tx1"/>
                </a:solidFill>
                <a:latin typeface="+mn-lt"/>
              </a:defRPr>
            </a:lvl2pPr>
            <a:lvl3pPr marL="861993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None/>
              <a:defRPr sz="1131">
                <a:solidFill>
                  <a:schemeClr val="tx1"/>
                </a:solidFill>
                <a:latin typeface="+mn-lt"/>
              </a:defRPr>
            </a:lvl3pPr>
            <a:lvl4pPr marL="129299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942">
                <a:solidFill>
                  <a:schemeClr val="tx1"/>
                </a:solidFill>
                <a:latin typeface="+mn-lt"/>
              </a:defRPr>
            </a:lvl4pPr>
            <a:lvl5pPr marL="1723986" indent="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None/>
              <a:defRPr sz="942" b="1">
                <a:solidFill>
                  <a:schemeClr val="tx2"/>
                </a:solidFill>
                <a:latin typeface="+mn-lt"/>
              </a:defRPr>
            </a:lvl5pPr>
            <a:lvl6pPr marL="2154983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942" b="0" baseline="0">
                <a:solidFill>
                  <a:schemeClr val="tx1"/>
                </a:solidFill>
                <a:latin typeface="+mn-lt"/>
              </a:defRPr>
            </a:lvl6pPr>
            <a:lvl7pPr marL="2585979" indent="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None/>
              <a:defRPr sz="942" b="1">
                <a:solidFill>
                  <a:schemeClr val="accent3"/>
                </a:solidFill>
                <a:latin typeface="+mn-lt"/>
              </a:defRPr>
            </a:lvl7pPr>
            <a:lvl8pPr marL="3016975" indent="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None/>
              <a:defRPr sz="942" b="1">
                <a:solidFill>
                  <a:schemeClr val="accent3"/>
                </a:solidFill>
                <a:latin typeface="+mn-lt"/>
              </a:defRPr>
            </a:lvl8pPr>
            <a:lvl9pPr marL="3447971" indent="0" algn="l" rtl="0" eaLnBrk="1" fontAlgn="base" hangingPunct="1">
              <a:spcBef>
                <a:spcPct val="30000"/>
              </a:spcBef>
              <a:spcAft>
                <a:spcPct val="0"/>
              </a:spcAft>
              <a:buNone/>
              <a:defRPr sz="942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endParaRPr lang="sk-SK" sz="2000" kern="0" dirty="0">
              <a:solidFill>
                <a:srgbClr val="002060"/>
              </a:solidFill>
              <a:latin typeface="Ista TheSansCE Bold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vlastní software,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který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vždy splňuje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legislativní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požadavky</a:t>
            </a:r>
            <a:endParaRPr lang="sk-SK" sz="2000" kern="0" dirty="0">
              <a:solidFill>
                <a:srgbClr val="002060"/>
              </a:solidFill>
              <a:latin typeface="Ista TheSansCE Bold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rozúčtováváme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teplo, chlad, teplou vodu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i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další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náklady na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provoz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domu</a:t>
            </a:r>
          </a:p>
        </p:txBody>
      </p:sp>
      <p:pic>
        <p:nvPicPr>
          <p:cNvPr id="8" name="Obrázek 7" descr="Obsah obrázku kreslení&#10;&#10;Popis byl vytvořen automaticky">
            <a:extLst>
              <a:ext uri="{FF2B5EF4-FFF2-40B4-BE49-F238E27FC236}">
                <a16:creationId xmlns:a16="http://schemas.microsoft.com/office/drawing/2014/main" id="{BF69C633-D2D6-4AB7-AB9E-B2DBAB52F6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24392" y="5857543"/>
            <a:ext cx="2448272" cy="955833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BA96DE41-6B65-4383-AB81-283B79F1206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916833"/>
            <a:ext cx="4539697" cy="4941168"/>
          </a:xfrm>
          <a:prstGeom prst="rect">
            <a:avLst/>
          </a:prstGeom>
        </p:spPr>
      </p:pic>
      <p:pic>
        <p:nvPicPr>
          <p:cNvPr id="10" name="Picture 29">
            <a:extLst>
              <a:ext uri="{FF2B5EF4-FFF2-40B4-BE49-F238E27FC236}">
                <a16:creationId xmlns:a16="http://schemas.microsoft.com/office/drawing/2014/main" id="{ED1CF8A0-BD3E-476F-B89E-61CCB6DE38B1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1" y="0"/>
            <a:ext cx="11562716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2775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>
            <a:extLst>
              <a:ext uri="{FF2B5EF4-FFF2-40B4-BE49-F238E27FC236}">
                <a16:creationId xmlns:a16="http://schemas.microsoft.com/office/drawing/2014/main" id="{91852209-5FA0-45A8-8A79-502E89F87CF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613" y="25426"/>
            <a:ext cx="3817155" cy="6807148"/>
          </a:xfrm>
          <a:prstGeom prst="rect">
            <a:avLst/>
          </a:prstGeom>
        </p:spPr>
      </p:pic>
      <p:pic>
        <p:nvPicPr>
          <p:cNvPr id="10" name="Picture 29">
            <a:extLst>
              <a:ext uri="{FF2B5EF4-FFF2-40B4-BE49-F238E27FC236}">
                <a16:creationId xmlns:a16="http://schemas.microsoft.com/office/drawing/2014/main" id="{ED1CF8A0-BD3E-476F-B89E-61CCB6DE38B1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2499"/>
            <a:ext cx="11562716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30DACFBB-25D6-47CD-BB33-0D43E995C8BA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5808032" y="6453336"/>
            <a:ext cx="576000" cy="14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algn="ctr"/>
            <a:fld id="{8FF9B0DE-3FEB-4AA0-B465-B80EF7C1333D}" type="slidenum">
              <a:rPr lang="de-DE" sz="800"/>
              <a:pPr algn="ctr"/>
              <a:t>7</a:t>
            </a:fld>
            <a:endParaRPr lang="de-DE" sz="800" dirty="0"/>
          </a:p>
        </p:txBody>
      </p:sp>
      <p:sp>
        <p:nvSpPr>
          <p:cNvPr id="14" name="Nadpis 21">
            <a:extLst>
              <a:ext uri="{FF2B5EF4-FFF2-40B4-BE49-F238E27FC236}">
                <a16:creationId xmlns:a16="http://schemas.microsoft.com/office/drawing/2014/main" id="{245AED57-FCB2-46DA-B133-588873303365}"/>
              </a:ext>
            </a:extLst>
          </p:cNvPr>
          <p:cNvSpPr txBox="1">
            <a:spLocks/>
          </p:cNvSpPr>
          <p:nvPr/>
        </p:nvSpPr>
        <p:spPr>
          <a:xfrm>
            <a:off x="4991062" y="1916832"/>
            <a:ext cx="6772783" cy="151216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altLang="en-US" kern="0" dirty="0" err="1">
                <a:solidFill>
                  <a:schemeClr val="bg2"/>
                </a:solidFill>
              </a:rPr>
              <a:t>řešíme</a:t>
            </a:r>
            <a:r>
              <a:rPr lang="sk-SK" altLang="en-US" kern="0" dirty="0"/>
              <a:t> za naše </a:t>
            </a:r>
            <a:r>
              <a:rPr lang="sk-SK" altLang="en-US" kern="0" dirty="0" err="1">
                <a:solidFill>
                  <a:schemeClr val="bg2"/>
                </a:solidFill>
              </a:rPr>
              <a:t>zákazníky</a:t>
            </a:r>
            <a:endParaRPr lang="sk-SK" dirty="0"/>
          </a:p>
        </p:txBody>
      </p:sp>
      <p:sp>
        <p:nvSpPr>
          <p:cNvPr id="15" name="Zástupný symbol textu 2">
            <a:extLst>
              <a:ext uri="{FF2B5EF4-FFF2-40B4-BE49-F238E27FC236}">
                <a16:creationId xmlns:a16="http://schemas.microsoft.com/office/drawing/2014/main" id="{5A5D3E18-CE04-488C-B8F0-028698BCEBA5}"/>
              </a:ext>
            </a:extLst>
          </p:cNvPr>
          <p:cNvSpPr txBox="1">
            <a:spLocks/>
          </p:cNvSpPr>
          <p:nvPr/>
        </p:nvSpPr>
        <p:spPr bwMode="gray">
          <a:xfrm>
            <a:off x="5081996" y="2559414"/>
            <a:ext cx="6480720" cy="3630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30000"/>
              </a:spcBef>
              <a:spcAft>
                <a:spcPct val="0"/>
              </a:spcAft>
              <a:buNone/>
              <a:defRPr sz="1509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0997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1320">
                <a:solidFill>
                  <a:schemeClr val="tx1"/>
                </a:solidFill>
                <a:latin typeface="+mn-lt"/>
              </a:defRPr>
            </a:lvl2pPr>
            <a:lvl3pPr marL="861993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accent3"/>
              </a:buClr>
              <a:buFont typeface="Wingdings" panose="05000000000000000000" pitchFamily="2" charset="2"/>
              <a:buNone/>
              <a:defRPr sz="1131">
                <a:solidFill>
                  <a:schemeClr val="tx1"/>
                </a:solidFill>
                <a:latin typeface="+mn-lt"/>
              </a:defRPr>
            </a:lvl3pPr>
            <a:lvl4pPr marL="1292990" indent="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None/>
              <a:defRPr sz="942">
                <a:solidFill>
                  <a:schemeClr val="tx1"/>
                </a:solidFill>
                <a:latin typeface="+mn-lt"/>
              </a:defRPr>
            </a:lvl4pPr>
            <a:lvl5pPr marL="1723986" indent="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None/>
              <a:defRPr sz="942" b="1">
                <a:solidFill>
                  <a:schemeClr val="tx2"/>
                </a:solidFill>
                <a:latin typeface="+mn-lt"/>
              </a:defRPr>
            </a:lvl5pPr>
            <a:lvl6pPr marL="2154983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942" b="0" baseline="0">
                <a:solidFill>
                  <a:schemeClr val="tx1"/>
                </a:solidFill>
                <a:latin typeface="+mn-lt"/>
              </a:defRPr>
            </a:lvl6pPr>
            <a:lvl7pPr marL="2585979" indent="0" algn="l" rtl="0" eaLnBrk="1" fontAlgn="base" hangingPunct="1">
              <a:spcBef>
                <a:spcPts val="576"/>
              </a:spcBef>
              <a:spcAft>
                <a:spcPct val="0"/>
              </a:spcAft>
              <a:buFont typeface="Wingdings" panose="05000000000000000000" pitchFamily="2" charset="2"/>
              <a:buNone/>
              <a:defRPr sz="942" b="1">
                <a:solidFill>
                  <a:schemeClr val="accent3"/>
                </a:solidFill>
                <a:latin typeface="+mn-lt"/>
              </a:defRPr>
            </a:lvl7pPr>
            <a:lvl8pPr marL="3016975" indent="0" algn="l" rtl="0" eaLnBrk="1" fontAlgn="base" hangingPunct="1">
              <a:spcBef>
                <a:spcPct val="30000"/>
              </a:spcBef>
              <a:spcAft>
                <a:spcPct val="0"/>
              </a:spcAft>
              <a:buFont typeface="Wingdings" panose="05000000000000000000" pitchFamily="2" charset="2"/>
              <a:buNone/>
              <a:defRPr sz="942" b="1">
                <a:solidFill>
                  <a:schemeClr val="accent3"/>
                </a:solidFill>
                <a:latin typeface="+mn-lt"/>
              </a:defRPr>
            </a:lvl8pPr>
            <a:lvl9pPr marL="3447971" indent="0" algn="l" rtl="0" eaLnBrk="1" fontAlgn="base" hangingPunct="1">
              <a:spcBef>
                <a:spcPct val="30000"/>
              </a:spcBef>
              <a:spcAft>
                <a:spcPct val="0"/>
              </a:spcAft>
              <a:buNone/>
              <a:defRPr sz="942">
                <a:solidFill>
                  <a:schemeClr val="tx1"/>
                </a:solidFill>
                <a:latin typeface="+mn-lt"/>
              </a:defRPr>
            </a:lvl9pPr>
          </a:lstStyle>
          <a:p>
            <a:endParaRPr lang="sk-SK" sz="2000" kern="0" dirty="0">
              <a:solidFill>
                <a:srgbClr val="002060"/>
              </a:solidFill>
              <a:latin typeface="+mj-lt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poruchy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přístrojů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zpětné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průtoky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vodoměrů</a:t>
            </a:r>
            <a:endParaRPr lang="sk-SK" sz="2000" kern="0" dirty="0">
              <a:solidFill>
                <a:srgbClr val="002060"/>
              </a:solidFill>
              <a:latin typeface="Ista TheSansCE Bold"/>
            </a:endParaRP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nepřihlášené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přístroje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(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více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než 2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týdny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do systému)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únik vody v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bytech</a:t>
            </a: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 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ü"/>
            </a:pPr>
            <a:r>
              <a:rPr lang="sk-SK" sz="2000" kern="0" dirty="0">
                <a:solidFill>
                  <a:srgbClr val="002060"/>
                </a:solidFill>
                <a:latin typeface="Ista TheSansCE Bold"/>
              </a:rPr>
              <a:t>nulové stavy </a:t>
            </a:r>
            <a:r>
              <a:rPr lang="sk-SK" sz="2000" kern="0" dirty="0" err="1">
                <a:solidFill>
                  <a:srgbClr val="002060"/>
                </a:solidFill>
                <a:latin typeface="Ista TheSansCE Bold"/>
              </a:rPr>
              <a:t>přístrojů</a:t>
            </a:r>
            <a:endParaRPr lang="sk-SK" sz="2000" kern="0" dirty="0">
              <a:solidFill>
                <a:srgbClr val="002060"/>
              </a:solidFill>
              <a:latin typeface="Ista TheSansCE Bold"/>
            </a:endParaRPr>
          </a:p>
        </p:txBody>
      </p:sp>
      <p:pic>
        <p:nvPicPr>
          <p:cNvPr id="8" name="Obrázek 7" descr="Obsah obrázku kreslení&#10;&#10;Popis byl vytvořen automaticky">
            <a:extLst>
              <a:ext uri="{FF2B5EF4-FFF2-40B4-BE49-F238E27FC236}">
                <a16:creationId xmlns:a16="http://schemas.microsoft.com/office/drawing/2014/main" id="{BF69C633-D2D6-4AB7-AB9E-B2DBAB52F6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24392" y="5857543"/>
            <a:ext cx="2448272" cy="955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9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Freihandform: Form 75">
            <a:extLst>
              <a:ext uri="{FF2B5EF4-FFF2-40B4-BE49-F238E27FC236}">
                <a16:creationId xmlns:a16="http://schemas.microsoft.com/office/drawing/2014/main" id="{72BBB259-9702-432D-85F0-B91F8D9CA7CB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0" y="2990848"/>
            <a:ext cx="1318727" cy="3867151"/>
          </a:xfrm>
          <a:custGeom>
            <a:avLst/>
            <a:gdLst>
              <a:gd name="connsiteX0" fmla="*/ 1318727 w 1318727"/>
              <a:gd name="connsiteY0" fmla="*/ 0 h 3867151"/>
              <a:gd name="connsiteX1" fmla="*/ 409828 w 1318727"/>
              <a:gd name="connsiteY1" fmla="*/ 3857249 h 3867151"/>
              <a:gd name="connsiteX2" fmla="*/ 407381 w 1318727"/>
              <a:gd name="connsiteY2" fmla="*/ 3867151 h 3867151"/>
              <a:gd name="connsiteX3" fmla="*/ 0 w 1318727"/>
              <a:gd name="connsiteY3" fmla="*/ 3867151 h 3867151"/>
              <a:gd name="connsiteX4" fmla="*/ 0 w 1318727"/>
              <a:gd name="connsiteY4" fmla="*/ 365009 h 3867151"/>
              <a:gd name="connsiteX5" fmla="*/ 57288 w 1318727"/>
              <a:gd name="connsiteY5" fmla="*/ 347329 h 3867151"/>
              <a:gd name="connsiteX6" fmla="*/ 1318727 w 1318727"/>
              <a:gd name="connsiteY6" fmla="*/ 0 h 386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18727" h="3867151">
                <a:moveTo>
                  <a:pt x="1318727" y="0"/>
                </a:moveTo>
                <a:cubicBezTo>
                  <a:pt x="920655" y="1690862"/>
                  <a:pt x="472719" y="3599640"/>
                  <a:pt x="409828" y="3857249"/>
                </a:cubicBezTo>
                <a:lnTo>
                  <a:pt x="407381" y="3867151"/>
                </a:lnTo>
                <a:lnTo>
                  <a:pt x="0" y="3867151"/>
                </a:lnTo>
                <a:lnTo>
                  <a:pt x="0" y="365009"/>
                </a:lnTo>
                <a:lnTo>
                  <a:pt x="57288" y="347329"/>
                </a:lnTo>
                <a:cubicBezTo>
                  <a:pt x="500989" y="213462"/>
                  <a:pt x="904284" y="104053"/>
                  <a:pt x="1318727" y="0"/>
                </a:cubicBezTo>
                <a:close/>
              </a:path>
            </a:pathLst>
          </a:custGeom>
          <a:solidFill>
            <a:srgbClr val="0A2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4" name="Freihandform: Form 73">
            <a:extLst>
              <a:ext uri="{FF2B5EF4-FFF2-40B4-BE49-F238E27FC236}">
                <a16:creationId xmlns:a16="http://schemas.microsoft.com/office/drawing/2014/main" id="{6D163164-C1E8-405B-ACD7-416AEA5750B2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2011000" cy="1918167"/>
          </a:xfrm>
          <a:custGeom>
            <a:avLst/>
            <a:gdLst>
              <a:gd name="connsiteX0" fmla="*/ 0 w 2011000"/>
              <a:gd name="connsiteY0" fmla="*/ 0 h 1918167"/>
              <a:gd name="connsiteX1" fmla="*/ 2010827 w 2011000"/>
              <a:gd name="connsiteY1" fmla="*/ 0 h 1918167"/>
              <a:gd name="connsiteX2" fmla="*/ 2011000 w 2011000"/>
              <a:gd name="connsiteY2" fmla="*/ 1 h 1918167"/>
              <a:gd name="connsiteX3" fmla="*/ 2010490 w 2011000"/>
              <a:gd name="connsiteY3" fmla="*/ 2192 h 1918167"/>
              <a:gd name="connsiteX4" fmla="*/ 1613969 w 2011000"/>
              <a:gd name="connsiteY4" fmla="*/ 1718551 h 1918167"/>
              <a:gd name="connsiteX5" fmla="*/ 100839 w 2011000"/>
              <a:gd name="connsiteY5" fmla="*/ 1904886 h 1918167"/>
              <a:gd name="connsiteX6" fmla="*/ 0 w 2011000"/>
              <a:gd name="connsiteY6" fmla="*/ 1918167 h 1918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11000" h="1918167">
                <a:moveTo>
                  <a:pt x="0" y="0"/>
                </a:moveTo>
                <a:lnTo>
                  <a:pt x="2010827" y="0"/>
                </a:lnTo>
                <a:lnTo>
                  <a:pt x="2011000" y="1"/>
                </a:lnTo>
                <a:lnTo>
                  <a:pt x="2010490" y="2192"/>
                </a:lnTo>
                <a:cubicBezTo>
                  <a:pt x="1990893" y="86304"/>
                  <a:pt x="1827448" y="788274"/>
                  <a:pt x="1613969" y="1718551"/>
                </a:cubicBezTo>
                <a:cubicBezTo>
                  <a:pt x="1291325" y="1752645"/>
                  <a:pt x="714458" y="1824808"/>
                  <a:pt x="100839" y="1904886"/>
                </a:cubicBezTo>
                <a:lnTo>
                  <a:pt x="0" y="191816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4B422395-68CB-4647-981C-6E93FD88F9D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FF9B0DE-3FEB-4AA0-B465-B80EF7C1333D}" type="slidenum">
              <a:rPr lang="de-DE" smtClean="0"/>
              <a:pPr/>
              <a:t>8</a:t>
            </a:fld>
            <a:endParaRPr lang="de-DE" dirty="0"/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0ED43D86-B5F7-4978-916D-44FEC39D2B7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89046" y="5709722"/>
            <a:ext cx="2602954" cy="1152128"/>
          </a:xfrm>
          <a:prstGeom prst="rect">
            <a:avLst/>
          </a:prstGeom>
        </p:spPr>
      </p:pic>
      <p:sp>
        <p:nvSpPr>
          <p:cNvPr id="5" name="BlokTextu 4">
            <a:extLst>
              <a:ext uri="{FF2B5EF4-FFF2-40B4-BE49-F238E27FC236}">
                <a16:creationId xmlns:a16="http://schemas.microsoft.com/office/drawing/2014/main" id="{A0C33FDD-CAF1-4321-95E7-660EAB7F80AD}"/>
              </a:ext>
            </a:extLst>
          </p:cNvPr>
          <p:cNvSpPr txBox="1"/>
          <p:nvPr/>
        </p:nvSpPr>
        <p:spPr bwMode="gray">
          <a:xfrm>
            <a:off x="2999656" y="6285786"/>
            <a:ext cx="1205599" cy="16735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marL="216000" indent="-216000" algn="l">
              <a:lnSpc>
                <a:spcPct val="110000"/>
              </a:lnSpc>
              <a:spcBef>
                <a:spcPts val="600"/>
              </a:spcBef>
              <a:buClr>
                <a:schemeClr val="bg2"/>
              </a:buClr>
              <a:buSzPct val="100000"/>
              <a:buFont typeface="Wingdings 2" panose="05020102010507070707" pitchFamily="18" charset="2"/>
              <a:buChar char="¡"/>
            </a:pPr>
            <a:endParaRPr lang="sk-SK" sz="1600" dirty="0" err="1"/>
          </a:p>
        </p:txBody>
      </p:sp>
      <p:sp>
        <p:nvSpPr>
          <p:cNvPr id="9" name="BlokTextu 2">
            <a:extLst>
              <a:ext uri="{FF2B5EF4-FFF2-40B4-BE49-F238E27FC236}">
                <a16:creationId xmlns:a16="http://schemas.microsoft.com/office/drawing/2014/main" id="{65E0B255-2D37-4B6E-B9E7-DDD0538CCBA9}"/>
              </a:ext>
            </a:extLst>
          </p:cNvPr>
          <p:cNvSpPr txBox="1"/>
          <p:nvPr/>
        </p:nvSpPr>
        <p:spPr>
          <a:xfrm>
            <a:off x="1919536" y="1192624"/>
            <a:ext cx="10009112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sk-SK" sz="1300" b="0" i="0" u="none" strike="noStrike" kern="0" cap="none" spc="0" normalizeH="0" baseline="0" noProof="0" dirty="0">
              <a:ln>
                <a:noFill/>
              </a:ln>
              <a:solidFill>
                <a:srgbClr val="0A2864"/>
              </a:solidFill>
              <a:effectLst/>
              <a:uLnTx/>
              <a:uFillTx/>
            </a:endParaRPr>
          </a:p>
          <a:p>
            <a:pPr marL="285750" marR="0" lvl="0" indent="-2857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sk-SK" sz="2400" dirty="0">
                <a:solidFill>
                  <a:srgbClr val="84B400"/>
                </a:solidFill>
                <a:latin typeface="+mj-lt"/>
              </a:rPr>
              <a:t>M-</a:t>
            </a:r>
            <a:r>
              <a:rPr lang="sk-SK" sz="2400" dirty="0" err="1">
                <a:solidFill>
                  <a:srgbClr val="84B400"/>
                </a:solidFill>
                <a:latin typeface="+mj-lt"/>
              </a:rPr>
              <a:t>bus</a:t>
            </a:r>
            <a:r>
              <a:rPr lang="sk-SK" sz="2400" dirty="0">
                <a:solidFill>
                  <a:srgbClr val="002060"/>
                </a:solidFill>
                <a:latin typeface="+mj-lt"/>
              </a:rPr>
              <a:t> protokol, </a:t>
            </a:r>
            <a:r>
              <a:rPr lang="sk-SK" sz="2400" dirty="0" err="1">
                <a:solidFill>
                  <a:srgbClr val="002060"/>
                </a:solidFill>
                <a:latin typeface="+mj-lt"/>
              </a:rPr>
              <a:t>který</a:t>
            </a:r>
            <a:r>
              <a:rPr lang="sk-SK" sz="2400" dirty="0">
                <a:solidFill>
                  <a:srgbClr val="002060"/>
                </a:solidFill>
                <a:latin typeface="+mj-lt"/>
              </a:rPr>
              <a:t> je pomocí GSM modemu </a:t>
            </a:r>
            <a:r>
              <a:rPr lang="sk-SK" sz="2400" dirty="0" err="1">
                <a:solidFill>
                  <a:srgbClr val="002060"/>
                </a:solidFill>
                <a:latin typeface="+mj-lt"/>
              </a:rPr>
              <a:t>přenášený</a:t>
            </a:r>
            <a:r>
              <a:rPr lang="sk-SK" sz="2400" dirty="0">
                <a:solidFill>
                  <a:srgbClr val="002060"/>
                </a:solidFill>
                <a:latin typeface="+mj-lt"/>
              </a:rPr>
              <a:t> na server a </a:t>
            </a:r>
            <a:r>
              <a:rPr lang="sk-SK" sz="2400" dirty="0" err="1">
                <a:solidFill>
                  <a:srgbClr val="002060"/>
                </a:solidFill>
                <a:latin typeface="+mj-lt"/>
              </a:rPr>
              <a:t>následně</a:t>
            </a:r>
            <a:r>
              <a:rPr lang="sk-SK" sz="2400" dirty="0">
                <a:solidFill>
                  <a:srgbClr val="002060"/>
                </a:solidFill>
                <a:latin typeface="+mj-lt"/>
              </a:rPr>
              <a:t> je zobrazovaný </a:t>
            </a:r>
            <a:r>
              <a:rPr lang="sk-SK" sz="2400" dirty="0" err="1">
                <a:solidFill>
                  <a:srgbClr val="002060"/>
                </a:solidFill>
                <a:latin typeface="+mj-lt"/>
              </a:rPr>
              <a:t>přes</a:t>
            </a:r>
            <a:r>
              <a:rPr lang="sk-SK" sz="2400" dirty="0">
                <a:solidFill>
                  <a:srgbClr val="002060"/>
                </a:solidFill>
                <a:latin typeface="+mj-lt"/>
              </a:rPr>
              <a:t> internetové rozhraní </a:t>
            </a:r>
            <a:r>
              <a:rPr lang="sk-SK" sz="2400" dirty="0">
                <a:solidFill>
                  <a:srgbClr val="84B400"/>
                </a:solidFill>
                <a:latin typeface="+mj-lt"/>
              </a:rPr>
              <a:t>www.mojekotelna24.cz</a:t>
            </a:r>
          </a:p>
          <a:p>
            <a:pPr marL="285750" marR="0" lvl="0" indent="-2857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endParaRPr lang="sk-SK" sz="2400" dirty="0">
              <a:solidFill>
                <a:srgbClr val="002060"/>
              </a:solidFill>
              <a:latin typeface="+mj-lt"/>
            </a:endParaRPr>
          </a:p>
          <a:p>
            <a:pPr marL="285750" marR="0" lvl="0" indent="-2857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sk-SK" sz="2400" dirty="0" err="1">
                <a:solidFill>
                  <a:srgbClr val="84B400"/>
                </a:solidFill>
                <a:latin typeface="+mj-lt"/>
              </a:rPr>
              <a:t>aktualizace</a:t>
            </a:r>
            <a:r>
              <a:rPr lang="sk-SK" sz="2400" dirty="0">
                <a:solidFill>
                  <a:srgbClr val="84B400"/>
                </a:solidFill>
                <a:latin typeface="+mj-lt"/>
              </a:rPr>
              <a:t> </a:t>
            </a:r>
            <a:r>
              <a:rPr lang="sk-SK" sz="2400" dirty="0" err="1">
                <a:solidFill>
                  <a:srgbClr val="002060"/>
                </a:solidFill>
                <a:latin typeface="+mj-lt"/>
              </a:rPr>
              <a:t>dat</a:t>
            </a:r>
            <a:r>
              <a:rPr lang="sk-SK" sz="2400" dirty="0">
                <a:solidFill>
                  <a:srgbClr val="002060"/>
                </a:solidFill>
                <a:latin typeface="+mj-lt"/>
              </a:rPr>
              <a:t> v intervalu každých </a:t>
            </a:r>
            <a:r>
              <a:rPr lang="sk-SK" sz="2400" dirty="0">
                <a:solidFill>
                  <a:srgbClr val="84B400"/>
                </a:solidFill>
                <a:latin typeface="+mj-lt"/>
              </a:rPr>
              <a:t>30 </a:t>
            </a:r>
            <a:r>
              <a:rPr lang="sk-SK" sz="2400" dirty="0" err="1">
                <a:solidFill>
                  <a:srgbClr val="84B400"/>
                </a:solidFill>
                <a:latin typeface="+mj-lt"/>
              </a:rPr>
              <a:t>minut</a:t>
            </a:r>
            <a:endParaRPr lang="sk-SK" sz="2400" dirty="0">
              <a:solidFill>
                <a:srgbClr val="84B400"/>
              </a:solidFill>
              <a:latin typeface="+mj-lt"/>
            </a:endParaRPr>
          </a:p>
          <a:p>
            <a:pPr marL="285750" marR="0" lvl="0" indent="-2857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endParaRPr lang="sk-SK" sz="2400" dirty="0">
              <a:solidFill>
                <a:srgbClr val="002060"/>
              </a:solidFill>
              <a:latin typeface="+mj-lt"/>
            </a:endParaRPr>
          </a:p>
          <a:p>
            <a:pPr marL="285750" marR="0" lvl="0" indent="-2857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lang="sk-SK" sz="2400" dirty="0" err="1">
                <a:solidFill>
                  <a:srgbClr val="002060"/>
                </a:solidFill>
                <a:latin typeface="+mj-lt"/>
              </a:rPr>
              <a:t>upozornění</a:t>
            </a:r>
            <a:r>
              <a:rPr lang="sk-SK" sz="2400" dirty="0">
                <a:solidFill>
                  <a:srgbClr val="002060"/>
                </a:solidFill>
                <a:latin typeface="+mj-lt"/>
              </a:rPr>
              <a:t> na kritické hodnoty </a:t>
            </a:r>
            <a:r>
              <a:rPr lang="sk-SK" sz="2400" dirty="0">
                <a:solidFill>
                  <a:srgbClr val="84B400"/>
                </a:solidFill>
                <a:latin typeface="+mj-lt"/>
              </a:rPr>
              <a:t>e-</a:t>
            </a:r>
            <a:r>
              <a:rPr lang="sk-SK" sz="2400" dirty="0" err="1">
                <a:solidFill>
                  <a:srgbClr val="84B400"/>
                </a:solidFill>
                <a:latin typeface="+mj-lt"/>
              </a:rPr>
              <a:t>mailem</a:t>
            </a:r>
            <a:r>
              <a:rPr lang="sk-SK" sz="2400" dirty="0">
                <a:solidFill>
                  <a:srgbClr val="002060"/>
                </a:solidFill>
                <a:latin typeface="+mj-lt"/>
              </a:rPr>
              <a:t> nebo </a:t>
            </a:r>
            <a:r>
              <a:rPr lang="sk-SK" sz="2400" dirty="0">
                <a:solidFill>
                  <a:srgbClr val="84B400"/>
                </a:solidFill>
                <a:latin typeface="+mj-lt"/>
              </a:rPr>
              <a:t>SMS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 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0" name="Obrázok 14">
            <a:extLst>
              <a:ext uri="{FF2B5EF4-FFF2-40B4-BE49-F238E27FC236}">
                <a16:creationId xmlns:a16="http://schemas.microsoft.com/office/drawing/2014/main" id="{D494840E-F14E-4678-8CB8-1F7A50E7248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3552" y="4285778"/>
            <a:ext cx="7314366" cy="2377311"/>
          </a:xfrm>
          <a:prstGeom prst="rect">
            <a:avLst/>
          </a:prstGeom>
        </p:spPr>
      </p:pic>
      <p:sp>
        <p:nvSpPr>
          <p:cNvPr id="11" name="Titel 14">
            <a:extLst>
              <a:ext uri="{FF2B5EF4-FFF2-40B4-BE49-F238E27FC236}">
                <a16:creationId xmlns:a16="http://schemas.microsoft.com/office/drawing/2014/main" id="{E5607DB9-DBEE-47A6-8AC6-406C533B8A7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633645" y="599067"/>
            <a:ext cx="8244518" cy="72003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dirty="0">
                <a:solidFill>
                  <a:srgbClr val="84B400"/>
                </a:solidFill>
              </a:rPr>
              <a:t>Energetický</a:t>
            </a:r>
            <a:r>
              <a:rPr lang="sk-SK" dirty="0"/>
              <a:t> managemen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194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9922" name="Picture 2"/>
          <p:cNvPicPr>
            <a:picLocks noGrp="1" noChangeAspect="1" noChangeArrowheads="1"/>
          </p:cNvPicPr>
          <p:nvPr>
            <p:ph sz="quarter" idx="12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03662" y="1196752"/>
            <a:ext cx="4136954" cy="2275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llipse 5"/>
          <p:cNvSpPr/>
          <p:nvPr/>
        </p:nvSpPr>
        <p:spPr bwMode="auto">
          <a:xfrm>
            <a:off x="7516671" y="2236205"/>
            <a:ext cx="1064528" cy="346234"/>
          </a:xfrm>
          <a:prstGeom prst="ellipse">
            <a:avLst/>
          </a:prstGeom>
          <a:solidFill>
            <a:schemeClr val="bg2">
              <a:alpha val="35000"/>
            </a:scheme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fr-FR" sz="1600">
              <a:latin typeface="Arial" charset="0"/>
            </a:endParaRPr>
          </a:p>
        </p:txBody>
      </p:sp>
      <p:sp>
        <p:nvSpPr>
          <p:cNvPr id="9" name="Ellipse 8"/>
          <p:cNvSpPr/>
          <p:nvPr/>
        </p:nvSpPr>
        <p:spPr bwMode="auto">
          <a:xfrm>
            <a:off x="9682083" y="2334672"/>
            <a:ext cx="331094" cy="346234"/>
          </a:xfrm>
          <a:prstGeom prst="ellipse">
            <a:avLst/>
          </a:prstGeom>
          <a:solidFill>
            <a:schemeClr val="bg2">
              <a:alpha val="35000"/>
            </a:scheme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fr-FR" sz="1600">
              <a:latin typeface="Arial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10539931" y="2125816"/>
            <a:ext cx="331094" cy="346234"/>
          </a:xfrm>
          <a:prstGeom prst="ellipse">
            <a:avLst/>
          </a:prstGeom>
          <a:solidFill>
            <a:schemeClr val="bg2">
              <a:alpha val="35000"/>
            </a:schemeClr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fr-FR" sz="1600">
              <a:latin typeface="Arial" charset="0"/>
            </a:endParaRPr>
          </a:p>
        </p:txBody>
      </p:sp>
      <p:graphicFrame>
        <p:nvGraphicFramePr>
          <p:cNvPr id="20" name="Group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721929"/>
              </p:ext>
            </p:extLst>
          </p:nvPr>
        </p:nvGraphicFramePr>
        <p:xfrm>
          <a:off x="1353388" y="3573016"/>
          <a:ext cx="5614574" cy="2202400"/>
        </p:xfrm>
        <a:graphic>
          <a:graphicData uri="http://schemas.openxmlformats.org/drawingml/2006/table">
            <a:tbl>
              <a:tblPr/>
              <a:tblGrid>
                <a:gridCol w="24154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65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25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4048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600" b="1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ůzné</a:t>
                      </a:r>
                      <a:r>
                        <a:rPr kumimoji="0" lang="sk-SK" sz="16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sk-SK" sz="1600" b="1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řípady</a:t>
                      </a:r>
                      <a:r>
                        <a:rPr kumimoji="0" lang="sk-SK" sz="16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úniku vody</a:t>
                      </a: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04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Typ úniku vody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1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Průtok</a:t>
                      </a:r>
                      <a:endParaRPr kumimoji="0" lang="sk-SK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12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Celkové </a:t>
                      </a:r>
                      <a:r>
                        <a:rPr kumimoji="0" lang="sk-SK" sz="1200" b="1" i="0" u="none" strike="noStrike" cap="none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nožství</a:t>
                      </a:r>
                      <a:endParaRPr kumimoji="0" lang="sk-SK" sz="12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04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+mn-ea"/>
                          <a:cs typeface="Times New Roman" pitchFamily="18" charset="0"/>
                        </a:rPr>
                        <a:t>4 l/h</a:t>
                      </a: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5 m</a:t>
                      </a:r>
                      <a:r>
                        <a:rPr kumimoji="0" lang="en-US" sz="12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cs-CZ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ok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04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l/h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5 m</a:t>
                      </a:r>
                      <a:r>
                        <a:rPr kumimoji="0" lang="en-US" sz="12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cs-CZ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ok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048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 l/h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20 m</a:t>
                      </a:r>
                      <a:r>
                        <a:rPr kumimoji="0" lang="en-US" sz="1200" b="0" i="0" u="none" strike="noStrike" cap="none" normalizeH="0" baseline="300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/</a:t>
                      </a:r>
                      <a:r>
                        <a:rPr kumimoji="0" lang="cs-CZ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rok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42943" marR="42943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4019698"/>
                  </a:ext>
                </a:extLst>
              </a:tr>
            </a:tbl>
          </a:graphicData>
        </a:graphic>
      </p:graphicFrame>
      <p:pic>
        <p:nvPicPr>
          <p:cNvPr id="22" name="Picture 3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03440" y="4485403"/>
            <a:ext cx="399007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Nadpis 21">
            <a:extLst>
              <a:ext uri="{FF2B5EF4-FFF2-40B4-BE49-F238E27FC236}">
                <a16:creationId xmlns:a16="http://schemas.microsoft.com/office/drawing/2014/main" id="{114BDCFC-7EAF-47E8-B466-BF50C1CD6DE1}"/>
              </a:ext>
            </a:extLst>
          </p:cNvPr>
          <p:cNvSpPr txBox="1">
            <a:spLocks/>
          </p:cNvSpPr>
          <p:nvPr/>
        </p:nvSpPr>
        <p:spPr>
          <a:xfrm>
            <a:off x="1112675" y="729222"/>
            <a:ext cx="9270022" cy="82757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5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altLang="en-US" kern="0" dirty="0">
                <a:solidFill>
                  <a:srgbClr val="002060"/>
                </a:solidFill>
              </a:rPr>
              <a:t>DETEKCE </a:t>
            </a:r>
            <a:r>
              <a:rPr lang="sk-SK" altLang="en-US" kern="0" dirty="0">
                <a:solidFill>
                  <a:srgbClr val="84B400"/>
                </a:solidFill>
              </a:rPr>
              <a:t>ÚNIKU</a:t>
            </a:r>
            <a:r>
              <a:rPr lang="sk-SK" altLang="en-US" kern="0" dirty="0">
                <a:solidFill>
                  <a:srgbClr val="002060"/>
                </a:solidFill>
              </a:rPr>
              <a:t> VODY       </a:t>
            </a:r>
          </a:p>
          <a:p>
            <a:br>
              <a:rPr lang="sk-SK" altLang="en-US" kern="0" dirty="0">
                <a:solidFill>
                  <a:srgbClr val="002060"/>
                </a:solidFill>
              </a:rPr>
            </a:br>
            <a:endParaRPr lang="sk-SK" dirty="0">
              <a:solidFill>
                <a:srgbClr val="002060"/>
              </a:solidFill>
            </a:endParaRPr>
          </a:p>
        </p:txBody>
      </p:sp>
      <p:sp>
        <p:nvSpPr>
          <p:cNvPr id="24" name="Obdĺžnik 3">
            <a:extLst>
              <a:ext uri="{FF2B5EF4-FFF2-40B4-BE49-F238E27FC236}">
                <a16:creationId xmlns:a16="http://schemas.microsoft.com/office/drawing/2014/main" id="{B2D09ADA-A9E8-412D-96BE-62928448CBEA}"/>
              </a:ext>
            </a:extLst>
          </p:cNvPr>
          <p:cNvSpPr/>
          <p:nvPr/>
        </p:nvSpPr>
        <p:spPr>
          <a:xfrm>
            <a:off x="1112675" y="1709807"/>
            <a:ext cx="6096000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sk-SK" altLang="en-US" kern="0" dirty="0">
                <a:solidFill>
                  <a:srgbClr val="002060"/>
                </a:solidFill>
                <a:latin typeface="Ista TheSansCE Bold"/>
              </a:rPr>
              <a:t>použitelné na </a:t>
            </a:r>
            <a:r>
              <a:rPr lang="sk-SK" altLang="en-US" kern="0" dirty="0" err="1">
                <a:solidFill>
                  <a:srgbClr val="002060"/>
                </a:solidFill>
                <a:latin typeface="Ista TheSansCE Bold"/>
              </a:rPr>
              <a:t>všechny</a:t>
            </a:r>
            <a:r>
              <a:rPr lang="sk-SK" altLang="en-US" kern="0" dirty="0">
                <a:solidFill>
                  <a:srgbClr val="002060"/>
                </a:solidFill>
                <a:latin typeface="Ista TheSansCE Bold"/>
              </a:rPr>
              <a:t> </a:t>
            </a:r>
            <a:r>
              <a:rPr lang="sk-SK" altLang="en-US" kern="0" dirty="0" err="1">
                <a:solidFill>
                  <a:srgbClr val="002060"/>
                </a:solidFill>
                <a:latin typeface="Ista TheSansCE Bold"/>
              </a:rPr>
              <a:t>vodoměry</a:t>
            </a:r>
            <a:r>
              <a:rPr lang="sk-SK" altLang="en-US" kern="0" dirty="0">
                <a:solidFill>
                  <a:srgbClr val="002060"/>
                </a:solidFill>
                <a:latin typeface="Ista TheSansCE Bold"/>
              </a:rPr>
              <a:t> ista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sk-SK" altLang="en-US" kern="0" dirty="0">
                <a:solidFill>
                  <a:srgbClr val="002060"/>
                </a:solidFill>
                <a:latin typeface="Ista TheSansCE Bold"/>
              </a:rPr>
              <a:t>bez nutnosti </a:t>
            </a:r>
            <a:r>
              <a:rPr lang="sk-SK" altLang="en-US" kern="0" dirty="0" err="1">
                <a:solidFill>
                  <a:srgbClr val="002060"/>
                </a:solidFill>
                <a:latin typeface="Ista TheSansCE Bold"/>
              </a:rPr>
              <a:t>opětovného</a:t>
            </a:r>
            <a:r>
              <a:rPr lang="sk-SK" altLang="en-US" kern="0" dirty="0">
                <a:solidFill>
                  <a:srgbClr val="002060"/>
                </a:solidFill>
                <a:latin typeface="Ista TheSansCE Bold"/>
              </a:rPr>
              <a:t> vstupu do bytu</a:t>
            </a:r>
          </a:p>
          <a:p>
            <a:pPr marL="285750" indent="-285750">
              <a:spcAft>
                <a:spcPts val="600"/>
              </a:spcAft>
              <a:buClr>
                <a:srgbClr val="92D050"/>
              </a:buClr>
              <a:buSzPct val="150000"/>
              <a:buFont typeface="Wingdings" panose="05000000000000000000" pitchFamily="2" charset="2"/>
              <a:buChar char="§"/>
            </a:pPr>
            <a:r>
              <a:rPr lang="sk-SK" altLang="en-US" kern="0" dirty="0" err="1">
                <a:solidFill>
                  <a:srgbClr val="002060"/>
                </a:solidFill>
                <a:latin typeface="Ista TheSansCE Bold"/>
              </a:rPr>
              <a:t>plně</a:t>
            </a:r>
            <a:r>
              <a:rPr lang="sk-SK" altLang="en-US" kern="0" dirty="0">
                <a:solidFill>
                  <a:srgbClr val="002060"/>
                </a:solidFill>
                <a:latin typeface="Ista TheSansCE Bold"/>
              </a:rPr>
              <a:t> </a:t>
            </a:r>
            <a:r>
              <a:rPr lang="sk-SK" altLang="en-US" kern="0" dirty="0">
                <a:solidFill>
                  <a:srgbClr val="84B400"/>
                </a:solidFill>
                <a:latin typeface="Ista TheSansCE Bold"/>
              </a:rPr>
              <a:t>automatický</a:t>
            </a:r>
            <a:r>
              <a:rPr lang="sk-SK" altLang="en-US" kern="0" dirty="0">
                <a:solidFill>
                  <a:srgbClr val="002060"/>
                </a:solidFill>
                <a:latin typeface="Ista TheSansCE Bold"/>
              </a:rPr>
              <a:t> systém</a:t>
            </a:r>
          </a:p>
          <a:p>
            <a:pPr>
              <a:spcAft>
                <a:spcPts val="600"/>
              </a:spcAft>
              <a:buClr>
                <a:srgbClr val="92D050"/>
              </a:buClr>
              <a:buSzPct val="150000"/>
            </a:pPr>
            <a:endParaRPr lang="sk-SK" altLang="en-US" kern="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25" name="Vývojový diagram: spojnica 2">
            <a:extLst>
              <a:ext uri="{FF2B5EF4-FFF2-40B4-BE49-F238E27FC236}">
                <a16:creationId xmlns:a16="http://schemas.microsoft.com/office/drawing/2014/main" id="{824D6103-577E-4CAD-80E2-40AB94E4E176}"/>
              </a:ext>
            </a:extLst>
          </p:cNvPr>
          <p:cNvSpPr/>
          <p:nvPr/>
        </p:nvSpPr>
        <p:spPr bwMode="auto">
          <a:xfrm>
            <a:off x="8472264" y="4118491"/>
            <a:ext cx="2366348" cy="1038701"/>
          </a:xfrm>
          <a:prstGeom prst="flowChartConnector">
            <a:avLst/>
          </a:prstGeom>
          <a:solidFill>
            <a:srgbClr val="0B2A67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sk-SK" sz="1600" b="1" dirty="0" err="1">
                <a:solidFill>
                  <a:srgbClr val="84B400"/>
                </a:solidFill>
                <a:latin typeface="Arial" pitchFamily="34" charset="0"/>
              </a:rPr>
              <a:t>Ztráta</a:t>
            </a:r>
            <a:r>
              <a:rPr kumimoji="0" lang="sk-SK" sz="1600" b="1" i="0" u="none" strike="noStrike" cap="none" normalizeH="0" baseline="0" dirty="0">
                <a:ln>
                  <a:noFill/>
                </a:ln>
                <a:solidFill>
                  <a:srgbClr val="84B400"/>
                </a:solidFill>
                <a:effectLst/>
                <a:latin typeface="Arial" pitchFamily="34" charset="0"/>
              </a:rPr>
              <a:t> vody </a:t>
            </a:r>
            <a:br>
              <a:rPr kumimoji="0" lang="sk-SK" sz="1600" b="1" i="0" u="none" strike="noStrike" cap="none" normalizeH="0" baseline="0" dirty="0">
                <a:ln>
                  <a:noFill/>
                </a:ln>
                <a:solidFill>
                  <a:srgbClr val="84B400"/>
                </a:solidFill>
                <a:effectLst/>
                <a:latin typeface="Arial" pitchFamily="34" charset="0"/>
              </a:rPr>
            </a:br>
            <a:r>
              <a:rPr kumimoji="0" lang="sk-SK" sz="1600" b="1" i="0" u="none" strike="noStrike" cap="none" normalizeH="0" baseline="0" dirty="0">
                <a:ln>
                  <a:noFill/>
                </a:ln>
                <a:solidFill>
                  <a:srgbClr val="84B400"/>
                </a:solidFill>
                <a:effectLst/>
                <a:latin typeface="Arial" pitchFamily="34" charset="0"/>
              </a:rPr>
              <a:t>220 m</a:t>
            </a:r>
            <a:r>
              <a:rPr kumimoji="0" lang="sk-SK" sz="1600" b="1" i="0" u="none" strike="noStrike" cap="none" normalizeH="0" baseline="0" dirty="0">
                <a:ln>
                  <a:noFill/>
                </a:ln>
                <a:solidFill>
                  <a:srgbClr val="84B400"/>
                </a:solidFill>
                <a:effectLst/>
                <a:cs typeface="Arial" panose="020B0604020202020204" pitchFamily="34" charset="0"/>
              </a:rPr>
              <a:t>³ znamená </a:t>
            </a:r>
            <a:r>
              <a:rPr lang="sk-SK" sz="1600" b="1" dirty="0" err="1">
                <a:solidFill>
                  <a:srgbClr val="84B400"/>
                </a:solidFill>
                <a:cs typeface="Arial" panose="020B0604020202020204" pitchFamily="34" charset="0"/>
              </a:rPr>
              <a:t>ztrátu</a:t>
            </a:r>
            <a:r>
              <a:rPr kumimoji="0" lang="sk-SK" sz="1600" b="1" i="0" u="none" strike="noStrike" cap="none" normalizeH="0" baseline="0" dirty="0">
                <a:ln>
                  <a:noFill/>
                </a:ln>
                <a:solidFill>
                  <a:srgbClr val="84B400"/>
                </a:solidFill>
                <a:effectLst/>
                <a:cs typeface="Arial" panose="020B0604020202020204" pitchFamily="34" charset="0"/>
              </a:rPr>
              <a:t> 20.600,-Kč</a:t>
            </a:r>
            <a:endParaRPr kumimoji="0" lang="sk-SK" sz="1600" b="1" i="0" u="none" strike="noStrike" cap="none" normalizeH="0" baseline="0" dirty="0">
              <a:ln>
                <a:noFill/>
              </a:ln>
              <a:solidFill>
                <a:srgbClr val="84B400"/>
              </a:solidFill>
              <a:effectLst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12CF5967-02AD-45E1-9871-9433E40844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7317" b="91463" l="0" r="96875">
                        <a14:foregroundMark x1="31250" y1="91463" x2="31250" y2="91463"/>
                        <a14:foregroundMark x1="70313" y1="78049" x2="70313" y2="78049"/>
                        <a14:foregroundMark x1="20313" y1="81707" x2="20313" y2="81707"/>
                        <a14:foregroundMark x1="15625" y1="71951" x2="15625" y2="71951"/>
                        <a14:foregroundMark x1="64063" y1="46341" x2="64063" y2="46341"/>
                        <a14:foregroundMark x1="70313" y1="47561" x2="70313" y2="47561"/>
                        <a14:foregroundMark x1="65625" y1="48780" x2="65625" y2="48780"/>
                        <a14:foregroundMark x1="67188" y1="48780" x2="67188" y2="48780"/>
                        <a14:foregroundMark x1="73438" y1="48780" x2="73438" y2="48780"/>
                        <a14:foregroundMark x1="79688" y1="47561" x2="79688" y2="47561"/>
                        <a14:foregroundMark x1="57813" y1="46341" x2="57813" y2="46341"/>
                        <a14:foregroundMark x1="53125" y1="47561" x2="53125" y2="4756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40677" y="5399669"/>
            <a:ext cx="334686" cy="333048"/>
          </a:xfrm>
          <a:prstGeom prst="rect">
            <a:avLst/>
          </a:prstGeom>
          <a:noFill/>
          <a:ln w="9525">
            <a:solidFill>
              <a:srgbClr val="282176"/>
            </a:solidFill>
            <a:miter lim="800000"/>
            <a:headEnd/>
            <a:tailEnd/>
          </a:ln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896149A2-E554-4463-A71A-68FA4ED460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09090" y="4940668"/>
            <a:ext cx="377215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15360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qdPxH5R324hOJKLxU5V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.1249609;14.75;14;28;28;28;0;14.74016;14.74016;14.74016;0;14.74016;"/>
  <p:tag name="VCT-BULLETVISIBILITY" val="G ** * 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09/27/2018 13:05:26"/>
  <p:tag name="VCTMASTER" val="3_Powerpoint_2010_Beispiel_Folien"/>
  <p:tag name="VCTORDER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sta">
  <a:themeElements>
    <a:clrScheme name="ista">
      <a:dk1>
        <a:srgbClr val="0A2864"/>
      </a:dk1>
      <a:lt1>
        <a:sysClr val="window" lastClr="FFFFFF"/>
      </a:lt1>
      <a:dk2>
        <a:srgbClr val="D7D7D7"/>
      </a:dk2>
      <a:lt2>
        <a:srgbClr val="84B400"/>
      </a:lt2>
      <a:accent1>
        <a:srgbClr val="003978"/>
      </a:accent1>
      <a:accent2>
        <a:srgbClr val="0055B4"/>
      </a:accent2>
      <a:accent3>
        <a:srgbClr val="0071F0"/>
      </a:accent3>
      <a:accent4>
        <a:srgbClr val="80B8F8"/>
      </a:accent4>
      <a:accent5>
        <a:srgbClr val="BAD9FC"/>
      </a:accent5>
      <a:accent6>
        <a:srgbClr val="DBEBFD"/>
      </a:accent6>
      <a:hlink>
        <a:srgbClr val="84B400"/>
      </a:hlink>
      <a:folHlink>
        <a:srgbClr val="0A2864"/>
      </a:folHlink>
    </a:clrScheme>
    <a:fontScheme name="Arial Black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tx1"/>
        </a:solidFill>
        <a:ln w="6350">
          <a:solidFill>
            <a:schemeClr val="tx1"/>
          </a:solidFill>
        </a:ln>
      </a:spPr>
      <a:bodyPr rtlCol="0" anchor="ctr"/>
      <a:lstStyle>
        <a:defPPr algn="ctr">
          <a:lnSpc>
            <a:spcPct val="110000"/>
          </a:lnSpc>
          <a:buSzPct val="100000"/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216000" indent="-216000" algn="l">
          <a:lnSpc>
            <a:spcPct val="110000"/>
          </a:lnSpc>
          <a:spcBef>
            <a:spcPts val="600"/>
          </a:spcBef>
          <a:buClr>
            <a:schemeClr val="bg2"/>
          </a:buClr>
          <a:buSzPct val="100000"/>
          <a:buFont typeface="Wingdings 2" panose="05020102010507070707" pitchFamily="18" charset="2"/>
          <a:buChar char="¡"/>
          <a:defRPr sz="1600" dirty="0" err="1" smtClean="0"/>
        </a:defPPr>
      </a:lstStyle>
    </a:txDef>
  </a:objectDefaults>
  <a:extraClrSchemeLst/>
  <a:custClrLst>
    <a:custClr name="132">
      <a:srgbClr val="84B400"/>
    </a:custClr>
    <a:custClr name="157">
      <a:srgbClr val="9DC333"/>
    </a:custClr>
    <a:custClr name="181">
      <a:srgbClr val="B5D266"/>
    </a:custClr>
    <a:custClr name="206">
      <a:srgbClr val="CEE199"/>
    </a:custClr>
    <a:custClr name="230">
      <a:srgbClr val="E6F0CC"/>
    </a:custClr>
    <a:custClr name="242">
      <a:srgbClr val="F2F7E5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230">
      <a:srgbClr val="E63F0C"/>
    </a:custClr>
    <a:custClr name="235">
      <a:srgbClr val="EB653D"/>
    </a:custClr>
    <a:custClr name="240">
      <a:srgbClr val="F08C6D"/>
    </a:custClr>
    <a:custClr name="245">
      <a:srgbClr val="F5B29E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242">
      <a:srgbClr val="F2AF00"/>
    </a:custClr>
    <a:custClr name="245">
      <a:srgbClr val="F5BF33"/>
    </a:custClr>
    <a:custClr name="247">
      <a:srgbClr val="F7CF66"/>
    </a:custClr>
    <a:custClr name="250">
      <a:srgbClr val="FADF99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  <a:custClr name="R 255">
      <a:srgbClr val="FFFFFF"/>
    </a:custClr>
  </a:custClrLst>
  <a:extLst>
    <a:ext uri="{05A4C25C-085E-4340-85A3-A5531E510DB2}">
      <thm15:themeFamily xmlns:thm15="http://schemas.microsoft.com/office/thememl/2012/main" name="K16_ista_Master_standard.potx" id="{4C3159C5-ADD4-4D58-BDDE-4BB62C291C2C}" vid="{C12EFDAD-28AE-44CB-80AE-DB53CA071FE6}"/>
    </a:ext>
  </a:extLst>
</a:theme>
</file>

<file path=ppt/theme/theme2.xml><?xml version="1.0" encoding="utf-8"?>
<a:theme xmlns:a="http://schemas.openxmlformats.org/drawingml/2006/main" name="3_Powerpoint_2010_Beispiel_Folien">
  <a:themeElements>
    <a:clrScheme name="Benutzerdefiniert 3">
      <a:dk1>
        <a:srgbClr val="000000"/>
      </a:dk1>
      <a:lt1>
        <a:srgbClr val="FFFFFF"/>
      </a:lt1>
      <a:dk2>
        <a:srgbClr val="0A2864"/>
      </a:dk2>
      <a:lt2>
        <a:srgbClr val="9DA9C1"/>
      </a:lt2>
      <a:accent1>
        <a:srgbClr val="9DA9C1"/>
      </a:accent1>
      <a:accent2>
        <a:srgbClr val="0A2864"/>
      </a:accent2>
      <a:accent3>
        <a:srgbClr val="84B400"/>
      </a:accent3>
      <a:accent4>
        <a:srgbClr val="B5D266"/>
      </a:accent4>
      <a:accent5>
        <a:srgbClr val="C2D6AA"/>
      </a:accent5>
      <a:accent6>
        <a:srgbClr val="BACC8A"/>
      </a:accent6>
      <a:hlink>
        <a:srgbClr val="3B5383"/>
      </a:hlink>
      <a:folHlink>
        <a:srgbClr val="9DC333"/>
      </a:folHlink>
    </a:clrScheme>
    <a:fontScheme name="Powerpoint2003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Powerpoint2003_template 1">
        <a:dk1>
          <a:srgbClr val="000000"/>
        </a:dk1>
        <a:lt1>
          <a:srgbClr val="FFFFFF"/>
        </a:lt1>
        <a:dk2>
          <a:srgbClr val="0A2864"/>
        </a:dk2>
        <a:lt2>
          <a:srgbClr val="9DA9C1"/>
        </a:lt2>
        <a:accent1>
          <a:srgbClr val="84B400"/>
        </a:accent1>
        <a:accent2>
          <a:srgbClr val="CEE199"/>
        </a:accent2>
        <a:accent3>
          <a:srgbClr val="FFFFFF"/>
        </a:accent3>
        <a:accent4>
          <a:srgbClr val="000000"/>
        </a:accent4>
        <a:accent5>
          <a:srgbClr val="C2D6AA"/>
        </a:accent5>
        <a:accent6>
          <a:srgbClr val="BACC8A"/>
        </a:accent6>
        <a:hlink>
          <a:srgbClr val="3B5383"/>
        </a:hlink>
        <a:folHlink>
          <a:srgbClr val="9DC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7" id="{2551B28F-46E2-4F25-84CF-2E73F4082CBB}" vid="{9F0CB1FB-45EB-45C2-B53F-AF5F8E19EE6D}"/>
    </a:ext>
  </a:extLst>
</a:theme>
</file>

<file path=ppt/theme/theme3.xml><?xml version="1.0" encoding="utf-8"?>
<a:theme xmlns:a="http://schemas.openxmlformats.org/drawingml/2006/main" name="Powerpoint_2010_Beispiel_Folien">
  <a:themeElements>
    <a:clrScheme name="Benutzerdefiniert 3">
      <a:dk1>
        <a:srgbClr val="000000"/>
      </a:dk1>
      <a:lt1>
        <a:srgbClr val="FFFFFF"/>
      </a:lt1>
      <a:dk2>
        <a:srgbClr val="0A2864"/>
      </a:dk2>
      <a:lt2>
        <a:srgbClr val="9DA9C1"/>
      </a:lt2>
      <a:accent1>
        <a:srgbClr val="9DA9C1"/>
      </a:accent1>
      <a:accent2>
        <a:srgbClr val="0A2864"/>
      </a:accent2>
      <a:accent3>
        <a:srgbClr val="84B400"/>
      </a:accent3>
      <a:accent4>
        <a:srgbClr val="B5D266"/>
      </a:accent4>
      <a:accent5>
        <a:srgbClr val="C2D6AA"/>
      </a:accent5>
      <a:accent6>
        <a:srgbClr val="BACC8A"/>
      </a:accent6>
      <a:hlink>
        <a:srgbClr val="3B5383"/>
      </a:hlink>
      <a:folHlink>
        <a:srgbClr val="9DC333"/>
      </a:folHlink>
    </a:clrScheme>
    <a:fontScheme name="Powerpoint2003_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Powerpoint2003_template 1">
        <a:dk1>
          <a:srgbClr val="000000"/>
        </a:dk1>
        <a:lt1>
          <a:srgbClr val="FFFFFF"/>
        </a:lt1>
        <a:dk2>
          <a:srgbClr val="0A2864"/>
        </a:dk2>
        <a:lt2>
          <a:srgbClr val="9DA9C1"/>
        </a:lt2>
        <a:accent1>
          <a:srgbClr val="84B400"/>
        </a:accent1>
        <a:accent2>
          <a:srgbClr val="CEE199"/>
        </a:accent2>
        <a:accent3>
          <a:srgbClr val="FFFFFF"/>
        </a:accent3>
        <a:accent4>
          <a:srgbClr val="000000"/>
        </a:accent4>
        <a:accent5>
          <a:srgbClr val="C2D6AA"/>
        </a:accent5>
        <a:accent6>
          <a:srgbClr val="BACC8A"/>
        </a:accent6>
        <a:hlink>
          <a:srgbClr val="3B5383"/>
        </a:hlink>
        <a:folHlink>
          <a:srgbClr val="9DC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ista_final.pptx" id="{31D9BA79-B518-40FE-A340-6BBA19CC73A2}" vid="{018A3E02-18EE-4E5D-9392-0FA678675016}"/>
    </a:ext>
  </a:extLst>
</a:theme>
</file>

<file path=ppt/theme/theme4.xml><?xml version="1.0" encoding="utf-8"?>
<a:theme xmlns:a="http://schemas.openxmlformats.org/drawingml/2006/main" name="Office">
  <a:themeElements>
    <a:clrScheme name="ista">
      <a:dk1>
        <a:srgbClr val="0A2864"/>
      </a:dk1>
      <a:lt1>
        <a:sysClr val="window" lastClr="FFFFFF"/>
      </a:lt1>
      <a:dk2>
        <a:srgbClr val="D7D7D7"/>
      </a:dk2>
      <a:lt2>
        <a:srgbClr val="84B400"/>
      </a:lt2>
      <a:accent1>
        <a:srgbClr val="003978"/>
      </a:accent1>
      <a:accent2>
        <a:srgbClr val="0055B4"/>
      </a:accent2>
      <a:accent3>
        <a:srgbClr val="0071F0"/>
      </a:accent3>
      <a:accent4>
        <a:srgbClr val="80B8F8"/>
      </a:accent4>
      <a:accent5>
        <a:srgbClr val="BAD9FC"/>
      </a:accent5>
      <a:accent6>
        <a:srgbClr val="DBEBFD"/>
      </a:accent6>
      <a:hlink>
        <a:srgbClr val="84B400"/>
      </a:hlink>
      <a:folHlink>
        <a:srgbClr val="0A2864"/>
      </a:folHlink>
    </a:clrScheme>
    <a:fontScheme name="Arial Black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ista">
      <a:dk1>
        <a:srgbClr val="0A2864"/>
      </a:dk1>
      <a:lt1>
        <a:sysClr val="window" lastClr="FFFFFF"/>
      </a:lt1>
      <a:dk2>
        <a:srgbClr val="D7D7D7"/>
      </a:dk2>
      <a:lt2>
        <a:srgbClr val="84B400"/>
      </a:lt2>
      <a:accent1>
        <a:srgbClr val="003978"/>
      </a:accent1>
      <a:accent2>
        <a:srgbClr val="0055B4"/>
      </a:accent2>
      <a:accent3>
        <a:srgbClr val="0071F0"/>
      </a:accent3>
      <a:accent4>
        <a:srgbClr val="80B8F8"/>
      </a:accent4>
      <a:accent5>
        <a:srgbClr val="BAD9FC"/>
      </a:accent5>
      <a:accent6>
        <a:srgbClr val="DBEBFD"/>
      </a:accent6>
      <a:hlink>
        <a:srgbClr val="84B400"/>
      </a:hlink>
      <a:folHlink>
        <a:srgbClr val="0A2864"/>
      </a:folHlink>
    </a:clrScheme>
    <a:fontScheme name="Arial Black Aria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16_ista_Vertriebspräsentation_V01_</Template>
  <TotalTime>11146</TotalTime>
  <Words>471</Words>
  <Application>Microsoft Office PowerPoint</Application>
  <PresentationFormat>Širokoúhlá obrazovka</PresentationFormat>
  <Paragraphs>115</Paragraphs>
  <Slides>11</Slides>
  <Notes>10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11</vt:i4>
      </vt:variant>
    </vt:vector>
  </HeadingPairs>
  <TitlesOfParts>
    <vt:vector size="22" baseType="lpstr">
      <vt:lpstr>Arial</vt:lpstr>
      <vt:lpstr>Arial Black</vt:lpstr>
      <vt:lpstr>Calibri</vt:lpstr>
      <vt:lpstr>Ista TheSansCE Bold</vt:lpstr>
      <vt:lpstr>Wingdings</vt:lpstr>
      <vt:lpstr>Wingdings 2</vt:lpstr>
      <vt:lpstr>ista</vt:lpstr>
      <vt:lpstr>3_Powerpoint_2010_Beispiel_Folien</vt:lpstr>
      <vt:lpstr>Powerpoint_2010_Beispiel_Folien</vt:lpstr>
      <vt:lpstr>think-cell Slide</vt:lpstr>
      <vt:lpstr>think-cell Folie</vt:lpstr>
      <vt:lpstr>Naše produkty</vt:lpstr>
      <vt:lpstr>nákladově efektivní dálkový odečet</vt:lpstr>
      <vt:lpstr>Prezentace aplikace PowerPoint</vt:lpstr>
      <vt:lpstr>Prezentace aplikace PowerPoint</vt:lpstr>
      <vt:lpstr>Naše služby</vt:lpstr>
      <vt:lpstr>Prezentace aplikace PowerPoint</vt:lpstr>
      <vt:lpstr>Prezentace aplikace PowerPoint</vt:lpstr>
      <vt:lpstr>Prezentace aplikace PowerPoint</vt:lpstr>
      <vt:lpstr>Prezentace aplikace PowerPoint</vt:lpstr>
      <vt:lpstr>ENERGETICKÝ MONITORING ista24</vt:lpstr>
      <vt:lpstr>Prezentace aplikace PowerPoint</vt:lpstr>
    </vt:vector>
  </TitlesOfParts>
  <Company>ista internation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al.  digital.  ista.</dc:title>
  <dc:creator>Seong-Won Ly</dc:creator>
  <dc:description>Office 2016</dc:description>
  <cp:lastModifiedBy>Kamila Opletalová</cp:lastModifiedBy>
  <cp:revision>324</cp:revision>
  <cp:lastPrinted>2019-11-15T14:10:52Z</cp:lastPrinted>
  <dcterms:created xsi:type="dcterms:W3CDTF">2019-11-14T08:46:13Z</dcterms:created>
  <dcterms:modified xsi:type="dcterms:W3CDTF">2020-10-05T12:40:14Z</dcterms:modified>
</cp:coreProperties>
</file>